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4" r:id="rId2"/>
  </p:sldMasterIdLst>
  <p:notesMasterIdLst>
    <p:notesMasterId r:id="rId6"/>
  </p:notesMasterIdLst>
  <p:handoutMasterIdLst>
    <p:handoutMasterId r:id="rId7"/>
  </p:handoutMasterIdLst>
  <p:sldIdLst>
    <p:sldId id="821" r:id="rId3"/>
    <p:sldId id="833" r:id="rId4"/>
    <p:sldId id="834" r:id="rId5"/>
  </p:sldIdLst>
  <p:sldSz cx="9906000" cy="6858000" type="A4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3748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  <p15:guide id="5" pos="6000" userDrawn="1">
          <p15:clr>
            <a:srgbClr val="A4A3A4"/>
          </p15:clr>
        </p15:guide>
        <p15:guide id="7" orient="horz" pos="576">
          <p15:clr>
            <a:srgbClr val="A4A3A4"/>
          </p15:clr>
        </p15:guide>
        <p15:guide id="8" pos="240" userDrawn="1">
          <p15:clr>
            <a:srgbClr val="A4A3A4"/>
          </p15:clr>
        </p15:guide>
        <p15:guide id="9" orient="horz" pos="255" userDrawn="1">
          <p15:clr>
            <a:srgbClr val="A4A3A4"/>
          </p15:clr>
        </p15:guide>
        <p15:guide id="10" orient="horz" pos="39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bert Zeman" initials="RZ" lastIdx="1" clrIdx="0"/>
  <p:cmAuthor id="1" name="Simona Sevik" initials="SS" lastIdx="1" clrIdx="1">
    <p:extLst>
      <p:ext uri="{19B8F6BF-5375-455C-9EA6-DF929625EA0E}">
        <p15:presenceInfo xmlns:p15="http://schemas.microsoft.com/office/powerpoint/2012/main" userId="S::Simona.Sevik@msg.group::ddef5485-79bc-4bf8-aa4d-8988ea0a27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841439"/>
    <a:srgbClr val="000000"/>
    <a:srgbClr val="6F6F6F"/>
    <a:srgbClr val="37FFFF"/>
    <a:srgbClr val="F159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99" autoAdjust="0"/>
    <p:restoredTop sz="92794" autoAdjust="0"/>
  </p:normalViewPr>
  <p:slideViewPr>
    <p:cSldViewPr snapToGrid="0" showGuides="1">
      <p:cViewPr varScale="1">
        <p:scale>
          <a:sx n="96" d="100"/>
          <a:sy n="96" d="100"/>
        </p:scale>
        <p:origin x="2004" y="84"/>
      </p:cViewPr>
      <p:guideLst>
        <p:guide orient="horz" pos="3748"/>
        <p:guide orient="horz" pos="1026"/>
        <p:guide pos="6000"/>
        <p:guide orient="horz" pos="576"/>
        <p:guide pos="240"/>
        <p:guide orient="horz" pos="255"/>
        <p:guide orient="horz" pos="397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-3978" y="-114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2963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sz="1000" b="1" dirty="0"/>
              <a:t>Präsentationstitel, Datum und Autor über -&gt; Header &amp; Footer einfüg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1" y="9431814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l"/>
            <a:r>
              <a:rPr lang="de-DE" sz="800" dirty="0"/>
              <a:t>(c) msg, tt.mm.20jj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183007"/>
            <a:ext cx="6797675" cy="2573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z="1000" dirty="0"/>
              <a:t>Autor / Referen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4B2028-3979-6647-9A71-4C9AB7B7838A}" type="slidenum">
              <a:rPr lang="de-DE" sz="800" smtClean="0"/>
              <a:t>‹Nr.›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25847282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270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 b="1"/>
            </a:lvl1pPr>
          </a:lstStyle>
          <a:p>
            <a:r>
              <a:rPr lang="de-DE" dirty="0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1" y="9430089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r>
              <a:rPr lang="de-DE" dirty="0"/>
              <a:t>(c) msg, tt.mm.20jj</a:t>
            </a:r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530225" y="930275"/>
            <a:ext cx="5737225" cy="3971925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524934" y="5140088"/>
            <a:ext cx="5748867" cy="395456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83011"/>
            <a:ext cx="6797675" cy="25732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r>
              <a:rPr lang="en-US" dirty="0"/>
              <a:t>Autor / Referen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1AA78027-27C9-475A-B317-673982703A4A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293692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71450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7188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542925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722313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900113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A01441"/>
              </a:buClr>
              <a:buSzTx/>
              <a:buFontTx/>
              <a:buNone/>
              <a:tabLst/>
              <a:defRPr/>
            </a:pPr>
            <a:fld id="{8EA03A34-464E-4330-B842-BE15B1004585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01441"/>
                </a:buClr>
                <a:buSzTx/>
                <a:buFontTx/>
                <a:buNone/>
                <a:tabLst/>
                <a:defRPr/>
              </a:pPr>
              <a:t>1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307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 descr="Ein Bild, das Spiel, weiß, Mann, Tisch enthält.&#10;&#10;Automatisch generierte Beschreibung">
            <a:extLst>
              <a:ext uri="{FF2B5EF4-FFF2-40B4-BE49-F238E27FC236}">
                <a16:creationId xmlns:a16="http://schemas.microsoft.com/office/drawing/2014/main" id="{75DD5F44-5ACF-4E59-A40C-C93A07A523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grpSp>
        <p:nvGrpSpPr>
          <p:cNvPr id="28" name="Group 698">
            <a:extLst>
              <a:ext uri="{FF2B5EF4-FFF2-40B4-BE49-F238E27FC236}">
                <a16:creationId xmlns:a16="http://schemas.microsoft.com/office/drawing/2014/main" id="{C0266714-B7BA-4D27-AF2C-35BB3CBAF93E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9" name="AutoShape 697">
              <a:extLst>
                <a:ext uri="{FF2B5EF4-FFF2-40B4-BE49-F238E27FC236}">
                  <a16:creationId xmlns:a16="http://schemas.microsoft.com/office/drawing/2014/main" id="{D54C1C37-2755-4D1E-A183-27C1C520FF4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Oval 699">
              <a:extLst>
                <a:ext uri="{FF2B5EF4-FFF2-40B4-BE49-F238E27FC236}">
                  <a16:creationId xmlns:a16="http://schemas.microsoft.com/office/drawing/2014/main" id="{4E4465A4-8D4D-47B0-98CB-71B6AFCA08BB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0">
              <a:extLst>
                <a:ext uri="{FF2B5EF4-FFF2-40B4-BE49-F238E27FC236}">
                  <a16:creationId xmlns:a16="http://schemas.microsoft.com/office/drawing/2014/main" id="{6C7A53C3-D8B3-4A48-A1F2-6C2F2F22F9B3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701">
              <a:extLst>
                <a:ext uri="{FF2B5EF4-FFF2-40B4-BE49-F238E27FC236}">
                  <a16:creationId xmlns:a16="http://schemas.microsoft.com/office/drawing/2014/main" id="{7049EE5D-E1FB-43C2-A94E-29AA2899E0B0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3" name="Freeform 702">
              <a:extLst>
                <a:ext uri="{FF2B5EF4-FFF2-40B4-BE49-F238E27FC236}">
                  <a16:creationId xmlns:a16="http://schemas.microsoft.com/office/drawing/2014/main" id="{B686D0F4-12F9-46C8-9493-406086C40414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A2400F4-5C47-455F-95A2-AAD5E88829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3617" y="2854800"/>
            <a:ext cx="8540056" cy="1656000"/>
          </a:xfrm>
        </p:spPr>
        <p:txBody>
          <a:bodyPr anchor="b"/>
          <a:lstStyle>
            <a:lvl1pPr algn="l">
              <a:defRPr sz="3575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B252249-1E9F-4342-AA6B-F97CF43A25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3617" y="4561200"/>
            <a:ext cx="8540056" cy="1604650"/>
          </a:xfrm>
        </p:spPr>
        <p:txBody>
          <a:bodyPr/>
          <a:lstStyle>
            <a:lvl1pPr marL="0" indent="0" algn="l">
              <a:buNone/>
              <a:defRPr sz="1625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EB1F93A-A66C-4524-9B9B-AE652B7965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A47D62F-6CFF-491D-8967-717FD7A146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63000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, 1 Text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567C0EE-B18C-4921-B412-B641F36DF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D7B92CD-C3FC-49EA-8A2A-EF19F86390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D915DAA-1030-4BDB-BDFF-6DD8100EEF8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0E0E8C56-7A81-4791-B86E-B42C00275AC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83618" y="1847675"/>
            <a:ext cx="4269383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F6C5C74-7AF2-4509-8EC5-4054D77B6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17756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,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7C55D7B-5235-4377-85BB-80387F1677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8F26C7-AB39-4845-A04C-9384DE5573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EB98F7A2-B9DD-4222-9586-DA5BD25097A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5D233B9-C21F-4FBC-808D-8CA7DEBEA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86744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links,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F34DB8-6534-4728-A43C-6E37BD774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4C3A4F-D821-4A05-8AD9-C650515EF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reihandform 7">
            <a:extLst>
              <a:ext uri="{FF2B5EF4-FFF2-40B4-BE49-F238E27FC236}">
                <a16:creationId xmlns:a16="http://schemas.microsoft.com/office/drawing/2014/main" id="{42372A54-737C-45B4-AE63-787EB9BD506A}"/>
              </a:ext>
            </a:extLst>
          </p:cNvPr>
          <p:cNvSpPr/>
          <p:nvPr/>
        </p:nvSpPr>
        <p:spPr>
          <a:xfrm rot="21149552">
            <a:off x="2703829" y="1197033"/>
            <a:ext cx="851659" cy="677831"/>
          </a:xfrm>
          <a:custGeom>
            <a:avLst/>
            <a:gdLst>
              <a:gd name="connsiteX0" fmla="*/ 0 w 1048195"/>
              <a:gd name="connsiteY0" fmla="*/ 0 h 677831"/>
              <a:gd name="connsiteX1" fmla="*/ 881236 w 1048195"/>
              <a:gd name="connsiteY1" fmla="*/ 116134 h 677831"/>
              <a:gd name="connsiteX2" fmla="*/ 966081 w 1048195"/>
              <a:gd name="connsiteY2" fmla="*/ 255793 h 677831"/>
              <a:gd name="connsiteX3" fmla="*/ 1048195 w 1048195"/>
              <a:gd name="connsiteY3" fmla="*/ 426251 h 677831"/>
              <a:gd name="connsiteX4" fmla="*/ 463746 w 1048195"/>
              <a:gd name="connsiteY4" fmla="*/ 677831 h 677831"/>
              <a:gd name="connsiteX5" fmla="*/ 406552 w 1048195"/>
              <a:gd name="connsiteY5" fmla="*/ 559107 h 677831"/>
              <a:gd name="connsiteX6" fmla="*/ 112895 w 1048195"/>
              <a:gd name="connsiteY6" fmla="*/ 124216 h 67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8195" h="677831">
                <a:moveTo>
                  <a:pt x="0" y="0"/>
                </a:moveTo>
                <a:lnTo>
                  <a:pt x="881236" y="116134"/>
                </a:lnTo>
                <a:lnTo>
                  <a:pt x="966081" y="255793"/>
                </a:lnTo>
                <a:lnTo>
                  <a:pt x="1048195" y="426251"/>
                </a:lnTo>
                <a:lnTo>
                  <a:pt x="463746" y="677831"/>
                </a:lnTo>
                <a:lnTo>
                  <a:pt x="406552" y="559107"/>
                </a:lnTo>
                <a:cubicBezTo>
                  <a:pt x="322569" y="404506"/>
                  <a:pt x="224073" y="258933"/>
                  <a:pt x="112895" y="124216"/>
                </a:cubicBez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7" name="Freihandform 8">
            <a:extLst>
              <a:ext uri="{FF2B5EF4-FFF2-40B4-BE49-F238E27FC236}">
                <a16:creationId xmlns:a16="http://schemas.microsoft.com/office/drawing/2014/main" id="{625FC537-E0ED-4011-AE0C-79FD608EC25C}"/>
              </a:ext>
            </a:extLst>
          </p:cNvPr>
          <p:cNvSpPr/>
          <p:nvPr/>
        </p:nvSpPr>
        <p:spPr>
          <a:xfrm rot="18058433">
            <a:off x="95415" y="5187225"/>
            <a:ext cx="698478" cy="1360171"/>
          </a:xfrm>
          <a:custGeom>
            <a:avLst/>
            <a:gdLst>
              <a:gd name="connsiteX0" fmla="*/ 680347 w 698478"/>
              <a:gd name="connsiteY0" fmla="*/ 0 h 1674057"/>
              <a:gd name="connsiteX1" fmla="*/ 635073 w 698478"/>
              <a:gd name="connsiteY1" fmla="*/ 172208 h 1674057"/>
              <a:gd name="connsiteX2" fmla="*/ 572257 w 698478"/>
              <a:gd name="connsiteY2" fmla="*/ 742263 h 1674057"/>
              <a:gd name="connsiteX3" fmla="*/ 682543 w 698478"/>
              <a:gd name="connsiteY3" fmla="*/ 1492880 h 1674057"/>
              <a:gd name="connsiteX4" fmla="*/ 698478 w 698478"/>
              <a:gd name="connsiteY4" fmla="*/ 1537680 h 1674057"/>
              <a:gd name="connsiteX5" fmla="*/ 168340 w 698478"/>
              <a:gd name="connsiteY5" fmla="*/ 1674057 h 1674057"/>
              <a:gd name="connsiteX6" fmla="*/ 113660 w 698478"/>
              <a:gd name="connsiteY6" fmla="*/ 1582961 h 1674057"/>
              <a:gd name="connsiteX7" fmla="*/ 77470 w 698478"/>
              <a:gd name="connsiteY7" fmla="*/ 1445302 h 1674057"/>
              <a:gd name="connsiteX8" fmla="*/ 0 w 698478"/>
              <a:gd name="connsiteY8" fmla="*/ 742264 h 1674057"/>
              <a:gd name="connsiteX9" fmla="*/ 8822 w 698478"/>
              <a:gd name="connsiteY9" fmla="*/ 502746 h 1674057"/>
              <a:gd name="connsiteX10" fmla="*/ 20675 w 698478"/>
              <a:gd name="connsiteY10" fmla="*/ 395961 h 1674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98478" h="1674057">
                <a:moveTo>
                  <a:pt x="680347" y="0"/>
                </a:moveTo>
                <a:lnTo>
                  <a:pt x="635073" y="172208"/>
                </a:lnTo>
                <a:cubicBezTo>
                  <a:pt x="593976" y="355401"/>
                  <a:pt x="572257" y="546222"/>
                  <a:pt x="572257" y="742263"/>
                </a:cubicBezTo>
                <a:cubicBezTo>
                  <a:pt x="572257" y="1003652"/>
                  <a:pt x="610869" y="1255760"/>
                  <a:pt x="682543" y="1492880"/>
                </a:cubicBezTo>
                <a:lnTo>
                  <a:pt x="698478" y="1537680"/>
                </a:lnTo>
                <a:lnTo>
                  <a:pt x="168340" y="1674057"/>
                </a:lnTo>
                <a:lnTo>
                  <a:pt x="113660" y="1582961"/>
                </a:lnTo>
                <a:lnTo>
                  <a:pt x="77470" y="1445302"/>
                </a:lnTo>
                <a:cubicBezTo>
                  <a:pt x="26785" y="1219374"/>
                  <a:pt x="0" y="984038"/>
                  <a:pt x="0" y="742264"/>
                </a:cubicBezTo>
                <a:cubicBezTo>
                  <a:pt x="0" y="661672"/>
                  <a:pt x="2976" y="581796"/>
                  <a:pt x="8822" y="502746"/>
                </a:cubicBezTo>
                <a:lnTo>
                  <a:pt x="20675" y="395961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8" name="Freihandform 9">
            <a:extLst>
              <a:ext uri="{FF2B5EF4-FFF2-40B4-BE49-F238E27FC236}">
                <a16:creationId xmlns:a16="http://schemas.microsoft.com/office/drawing/2014/main" id="{1A5D1082-5AF4-46B2-8400-EE9B7D303226}"/>
              </a:ext>
            </a:extLst>
          </p:cNvPr>
          <p:cNvSpPr/>
          <p:nvPr/>
        </p:nvSpPr>
        <p:spPr>
          <a:xfrm rot="4774343">
            <a:off x="2647101" y="4038951"/>
            <a:ext cx="1189458" cy="1046670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9" name="Freihandform 10">
            <a:extLst>
              <a:ext uri="{FF2B5EF4-FFF2-40B4-BE49-F238E27FC236}">
                <a16:creationId xmlns:a16="http://schemas.microsoft.com/office/drawing/2014/main" id="{2E8A2785-1AE5-4A31-9AA9-1788E7688913}"/>
              </a:ext>
            </a:extLst>
          </p:cNvPr>
          <p:cNvSpPr/>
          <p:nvPr/>
        </p:nvSpPr>
        <p:spPr>
          <a:xfrm rot="13644815">
            <a:off x="3481512" y="4683701"/>
            <a:ext cx="612188" cy="1685488"/>
          </a:xfrm>
          <a:custGeom>
            <a:avLst/>
            <a:gdLst>
              <a:gd name="connsiteX0" fmla="*/ 106983 w 527832"/>
              <a:gd name="connsiteY0" fmla="*/ 0 h 1379153"/>
              <a:gd name="connsiteX1" fmla="*/ 527832 w 527832"/>
              <a:gd name="connsiteY1" fmla="*/ 105212 h 1379153"/>
              <a:gd name="connsiteX2" fmla="*/ 514987 w 527832"/>
              <a:gd name="connsiteY2" fmla="*/ 140308 h 1379153"/>
              <a:gd name="connsiteX3" fmla="*/ 431775 w 527832"/>
              <a:gd name="connsiteY3" fmla="*/ 690699 h 1379153"/>
              <a:gd name="connsiteX4" fmla="*/ 514987 w 527832"/>
              <a:gd name="connsiteY4" fmla="*/ 1241091 h 1379153"/>
              <a:gd name="connsiteX5" fmla="*/ 527010 w 527832"/>
              <a:gd name="connsiteY5" fmla="*/ 1273941 h 1379153"/>
              <a:gd name="connsiteX6" fmla="*/ 106161 w 527832"/>
              <a:gd name="connsiteY6" fmla="*/ 1379153 h 1379153"/>
              <a:gd name="connsiteX7" fmla="*/ 102623 w 527832"/>
              <a:gd name="connsiteY7" fmla="*/ 1369487 h 1379153"/>
              <a:gd name="connsiteX8" fmla="*/ 0 w 527832"/>
              <a:gd name="connsiteY8" fmla="*/ 690699 h 1379153"/>
              <a:gd name="connsiteX9" fmla="*/ 102623 w 527832"/>
              <a:gd name="connsiteY9" fmla="*/ 11911 h 137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7832" h="1379153">
                <a:moveTo>
                  <a:pt x="106983" y="0"/>
                </a:moveTo>
                <a:lnTo>
                  <a:pt x="527832" y="105212"/>
                </a:lnTo>
                <a:lnTo>
                  <a:pt x="514987" y="140308"/>
                </a:lnTo>
                <a:cubicBezTo>
                  <a:pt x="460908" y="314176"/>
                  <a:pt x="431775" y="499035"/>
                  <a:pt x="431775" y="690699"/>
                </a:cubicBezTo>
                <a:cubicBezTo>
                  <a:pt x="431775" y="882363"/>
                  <a:pt x="460908" y="1067222"/>
                  <a:pt x="514987" y="1241091"/>
                </a:cubicBezTo>
                <a:lnTo>
                  <a:pt x="527010" y="1273941"/>
                </a:lnTo>
                <a:lnTo>
                  <a:pt x="106161" y="1379153"/>
                </a:lnTo>
                <a:lnTo>
                  <a:pt x="102623" y="1369487"/>
                </a:lnTo>
                <a:cubicBezTo>
                  <a:pt x="35929" y="1155058"/>
                  <a:pt x="0" y="927075"/>
                  <a:pt x="0" y="690699"/>
                </a:cubicBezTo>
                <a:cubicBezTo>
                  <a:pt x="0" y="454324"/>
                  <a:pt x="35929" y="226340"/>
                  <a:pt x="102623" y="11911"/>
                </a:cubicBez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0" name="Freihandform 11">
            <a:extLst>
              <a:ext uri="{FF2B5EF4-FFF2-40B4-BE49-F238E27FC236}">
                <a16:creationId xmlns:a16="http://schemas.microsoft.com/office/drawing/2014/main" id="{BD4ED3DD-4B69-46E2-A02F-D6CDF2CA4FDB}"/>
              </a:ext>
            </a:extLst>
          </p:cNvPr>
          <p:cNvSpPr/>
          <p:nvPr/>
        </p:nvSpPr>
        <p:spPr>
          <a:xfrm rot="2158040">
            <a:off x="4565302" y="2953744"/>
            <a:ext cx="331903" cy="442410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1" name="Bildplatzhalter 27">
            <a:extLst>
              <a:ext uri="{FF2B5EF4-FFF2-40B4-BE49-F238E27FC236}">
                <a16:creationId xmlns:a16="http://schemas.microsoft.com/office/drawing/2014/main" id="{7D5B86A1-9745-4F41-9951-7EC609011D4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0" y="1268413"/>
            <a:ext cx="4283879" cy="4887448"/>
          </a:xfrm>
          <a:custGeom>
            <a:avLst/>
            <a:gdLst>
              <a:gd name="connsiteX0" fmla="*/ 4974758 w 5272466"/>
              <a:gd name="connsiteY0" fmla="*/ 473426 h 4887448"/>
              <a:gd name="connsiteX1" fmla="*/ 5029169 w 5272466"/>
              <a:gd name="connsiteY1" fmla="*/ 586376 h 4887448"/>
              <a:gd name="connsiteX2" fmla="*/ 5272466 w 5272466"/>
              <a:gd name="connsiteY2" fmla="*/ 1791470 h 4887448"/>
              <a:gd name="connsiteX3" fmla="*/ 2176487 w 5272466"/>
              <a:gd name="connsiteY3" fmla="*/ 4887448 h 4887448"/>
              <a:gd name="connsiteX4" fmla="*/ 94823 w 5272466"/>
              <a:gd name="connsiteY4" fmla="*/ 4083169 h 4887448"/>
              <a:gd name="connsiteX5" fmla="*/ 0 w 5272466"/>
              <a:gd name="connsiteY5" fmla="*/ 3990581 h 4887448"/>
              <a:gd name="connsiteX6" fmla="*/ 0 w 5272466"/>
              <a:gd name="connsiteY6" fmla="*/ 2996193 h 4887448"/>
              <a:gd name="connsiteX7" fmla="*/ 44893 w 5272466"/>
              <a:gd name="connsiteY7" fmla="*/ 3083886 h 4887448"/>
              <a:gd name="connsiteX8" fmla="*/ 2176487 w 5272466"/>
              <a:gd name="connsiteY8" fmla="*/ 4283900 h 4887448"/>
              <a:gd name="connsiteX9" fmla="*/ 4668920 w 5272466"/>
              <a:gd name="connsiteY9" fmla="*/ 1791469 h 4887448"/>
              <a:gd name="connsiteX10" fmla="*/ 4473051 w 5272466"/>
              <a:gd name="connsiteY10" fmla="*/ 821302 h 4887448"/>
              <a:gd name="connsiteX11" fmla="*/ 4420420 w 5272466"/>
              <a:gd name="connsiteY11" fmla="*/ 712045 h 4887448"/>
              <a:gd name="connsiteX12" fmla="*/ 2176487 w 5272466"/>
              <a:gd name="connsiteY12" fmla="*/ 3172 h 4887448"/>
              <a:gd name="connsiteX13" fmla="*/ 3964785 w 5272466"/>
              <a:gd name="connsiteY13" fmla="*/ 1791470 h 4887448"/>
              <a:gd name="connsiteX14" fmla="*/ 2176487 w 5272466"/>
              <a:gd name="connsiteY14" fmla="*/ 3579768 h 4887448"/>
              <a:gd name="connsiteX15" fmla="*/ 388189 w 5272466"/>
              <a:gd name="connsiteY15" fmla="*/ 1791470 h 4887448"/>
              <a:gd name="connsiteX16" fmla="*/ 2176487 w 5272466"/>
              <a:gd name="connsiteY16" fmla="*/ 3172 h 4887448"/>
              <a:gd name="connsiteX17" fmla="*/ 2772249 w 5272466"/>
              <a:gd name="connsiteY17" fmla="*/ 0 h 4887448"/>
              <a:gd name="connsiteX18" fmla="*/ 3601845 w 5272466"/>
              <a:gd name="connsiteY18" fmla="*/ 0 h 4887448"/>
              <a:gd name="connsiteX19" fmla="*/ 3675942 w 5272466"/>
              <a:gd name="connsiteY19" fmla="*/ 58947 h 4887448"/>
              <a:gd name="connsiteX20" fmla="*/ 4467740 w 5272466"/>
              <a:gd name="connsiteY20" fmla="*/ 1791470 h 4887448"/>
              <a:gd name="connsiteX21" fmla="*/ 4076430 w 5272466"/>
              <a:gd name="connsiteY21" fmla="*/ 3072531 h 4887448"/>
              <a:gd name="connsiteX22" fmla="*/ 4039982 w 5272466"/>
              <a:gd name="connsiteY22" fmla="*/ 3121272 h 4887448"/>
              <a:gd name="connsiteX23" fmla="*/ 3720616 w 5272466"/>
              <a:gd name="connsiteY23" fmla="*/ 2877212 h 4887448"/>
              <a:gd name="connsiteX24" fmla="*/ 3742785 w 5272466"/>
              <a:gd name="connsiteY24" fmla="*/ 2847568 h 4887448"/>
              <a:gd name="connsiteX25" fmla="*/ 4065377 w 5272466"/>
              <a:gd name="connsiteY25" fmla="*/ 1791470 h 4887448"/>
              <a:gd name="connsiteX26" fmla="*/ 2859702 w 5272466"/>
              <a:gd name="connsiteY26" fmla="*/ 29925 h 4887448"/>
              <a:gd name="connsiteX27" fmla="*/ 749601 w 5272466"/>
              <a:gd name="connsiteY27" fmla="*/ 0 h 4887448"/>
              <a:gd name="connsiteX28" fmla="*/ 1571630 w 5272466"/>
              <a:gd name="connsiteY28" fmla="*/ 0 h 4887448"/>
              <a:gd name="connsiteX29" fmla="*/ 1572591 w 5272466"/>
              <a:gd name="connsiteY29" fmla="*/ 2947 h 4887448"/>
              <a:gd name="connsiteX30" fmla="*/ 1441249 w 5272466"/>
              <a:gd name="connsiteY30" fmla="*/ 51019 h 4887448"/>
              <a:gd name="connsiteX31" fmla="*/ 287599 w 5272466"/>
              <a:gd name="connsiteY31" fmla="*/ 1791470 h 4887448"/>
              <a:gd name="connsiteX32" fmla="*/ 2176487 w 5272466"/>
              <a:gd name="connsiteY32" fmla="*/ 3680360 h 4887448"/>
              <a:gd name="connsiteX33" fmla="*/ 2738187 w 5272466"/>
              <a:gd name="connsiteY33" fmla="*/ 3595438 h 4887448"/>
              <a:gd name="connsiteX34" fmla="*/ 2908402 w 5272466"/>
              <a:gd name="connsiteY34" fmla="*/ 3533139 h 4887448"/>
              <a:gd name="connsiteX35" fmla="*/ 3075537 w 5272466"/>
              <a:gd name="connsiteY35" fmla="*/ 3899200 h 4887448"/>
              <a:gd name="connsiteX36" fmla="*/ 3068346 w 5272466"/>
              <a:gd name="connsiteY36" fmla="*/ 3902664 h 4887448"/>
              <a:gd name="connsiteX37" fmla="*/ 2176487 w 5272466"/>
              <a:gd name="connsiteY37" fmla="*/ 4082723 h 4887448"/>
              <a:gd name="connsiteX38" fmla="*/ 123392 w 5272466"/>
              <a:gd name="connsiteY38" fmla="*/ 2809780 h 4887448"/>
              <a:gd name="connsiteX39" fmla="*/ 0 w 5272466"/>
              <a:gd name="connsiteY39" fmla="*/ 2502125 h 4887448"/>
              <a:gd name="connsiteX40" fmla="*/ 0 w 5272466"/>
              <a:gd name="connsiteY40" fmla="*/ 1080290 h 4887448"/>
              <a:gd name="connsiteX41" fmla="*/ 111179 w 5272466"/>
              <a:gd name="connsiteY41" fmla="*/ 798118 h 4887448"/>
              <a:gd name="connsiteX42" fmla="*/ 719040 w 5272466"/>
              <a:gd name="connsiteY42" fmla="*/ 23429 h 4887448"/>
              <a:gd name="connsiteX43" fmla="*/ 0 w 5272466"/>
              <a:gd name="connsiteY43" fmla="*/ 0 h 4887448"/>
              <a:gd name="connsiteX44" fmla="*/ 445867 w 5272466"/>
              <a:gd name="connsiteY44" fmla="*/ 0 h 4887448"/>
              <a:gd name="connsiteX45" fmla="*/ 372294 w 5272466"/>
              <a:gd name="connsiteY45" fmla="*/ 71839 h 4887448"/>
              <a:gd name="connsiteX46" fmla="*/ 44893 w 5272466"/>
              <a:gd name="connsiteY46" fmla="*/ 499052 h 4887448"/>
              <a:gd name="connsiteX47" fmla="*/ 0 w 5272466"/>
              <a:gd name="connsiteY47" fmla="*/ 586745 h 488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272466" h="4887448">
                <a:moveTo>
                  <a:pt x="4974758" y="473426"/>
                </a:moveTo>
                <a:lnTo>
                  <a:pt x="5029169" y="586376"/>
                </a:lnTo>
                <a:cubicBezTo>
                  <a:pt x="5185833" y="956774"/>
                  <a:pt x="5272466" y="1364006"/>
                  <a:pt x="5272466" y="1791470"/>
                </a:cubicBezTo>
                <a:cubicBezTo>
                  <a:pt x="5272466" y="3501332"/>
                  <a:pt x="3886349" y="4887448"/>
                  <a:pt x="2176487" y="4887448"/>
                </a:cubicBezTo>
                <a:cubicBezTo>
                  <a:pt x="1374991" y="4887448"/>
                  <a:pt x="644629" y="4582882"/>
                  <a:pt x="94823" y="4083169"/>
                </a:cubicBezTo>
                <a:lnTo>
                  <a:pt x="0" y="3990581"/>
                </a:lnTo>
                <a:lnTo>
                  <a:pt x="0" y="2996193"/>
                </a:lnTo>
                <a:lnTo>
                  <a:pt x="44893" y="3083886"/>
                </a:lnTo>
                <a:cubicBezTo>
                  <a:pt x="482033" y="3803324"/>
                  <a:pt x="1273138" y="4283900"/>
                  <a:pt x="2176487" y="4283900"/>
                </a:cubicBezTo>
                <a:cubicBezTo>
                  <a:pt x="3553019" y="4283900"/>
                  <a:pt x="4668920" y="3168002"/>
                  <a:pt x="4668920" y="1791469"/>
                </a:cubicBezTo>
                <a:cubicBezTo>
                  <a:pt x="4668920" y="1447336"/>
                  <a:pt x="4599176" y="1119491"/>
                  <a:pt x="4473051" y="821302"/>
                </a:cubicBezTo>
                <a:lnTo>
                  <a:pt x="4420420" y="712045"/>
                </a:lnTo>
                <a:close/>
                <a:moveTo>
                  <a:pt x="2176487" y="3172"/>
                </a:moveTo>
                <a:cubicBezTo>
                  <a:pt x="3164137" y="3172"/>
                  <a:pt x="3964785" y="803820"/>
                  <a:pt x="3964785" y="1791470"/>
                </a:cubicBezTo>
                <a:cubicBezTo>
                  <a:pt x="3964785" y="2779120"/>
                  <a:pt x="3164137" y="3579768"/>
                  <a:pt x="2176487" y="3579768"/>
                </a:cubicBezTo>
                <a:cubicBezTo>
                  <a:pt x="1188839" y="3579768"/>
                  <a:pt x="388189" y="2779120"/>
                  <a:pt x="388189" y="1791470"/>
                </a:cubicBezTo>
                <a:cubicBezTo>
                  <a:pt x="388189" y="803820"/>
                  <a:pt x="1188839" y="3172"/>
                  <a:pt x="2176487" y="3172"/>
                </a:cubicBezTo>
                <a:close/>
                <a:moveTo>
                  <a:pt x="2772249" y="0"/>
                </a:moveTo>
                <a:lnTo>
                  <a:pt x="3601845" y="0"/>
                </a:lnTo>
                <a:lnTo>
                  <a:pt x="3675942" y="58947"/>
                </a:lnTo>
                <a:cubicBezTo>
                  <a:pt x="4160943" y="479070"/>
                  <a:pt x="4467740" y="1099442"/>
                  <a:pt x="4467740" y="1791470"/>
                </a:cubicBezTo>
                <a:cubicBezTo>
                  <a:pt x="4467740" y="2266005"/>
                  <a:pt x="4323483" y="2706844"/>
                  <a:pt x="4076430" y="3072531"/>
                </a:cubicBezTo>
                <a:lnTo>
                  <a:pt x="4039982" y="3121272"/>
                </a:lnTo>
                <a:lnTo>
                  <a:pt x="3720616" y="2877212"/>
                </a:lnTo>
                <a:lnTo>
                  <a:pt x="3742785" y="2847568"/>
                </a:lnTo>
                <a:cubicBezTo>
                  <a:pt x="3946454" y="2546098"/>
                  <a:pt x="4065377" y="2182673"/>
                  <a:pt x="4065377" y="1791470"/>
                </a:cubicBezTo>
                <a:cubicBezTo>
                  <a:pt x="4065377" y="989202"/>
                  <a:pt x="3565215" y="303750"/>
                  <a:pt x="2859702" y="29925"/>
                </a:cubicBezTo>
                <a:close/>
                <a:moveTo>
                  <a:pt x="749601" y="0"/>
                </a:moveTo>
                <a:lnTo>
                  <a:pt x="1571630" y="0"/>
                </a:lnTo>
                <a:lnTo>
                  <a:pt x="1572591" y="2947"/>
                </a:lnTo>
                <a:lnTo>
                  <a:pt x="1441249" y="51019"/>
                </a:lnTo>
                <a:cubicBezTo>
                  <a:pt x="763297" y="337770"/>
                  <a:pt x="287599" y="1009067"/>
                  <a:pt x="287599" y="1791470"/>
                </a:cubicBezTo>
                <a:cubicBezTo>
                  <a:pt x="287599" y="2834674"/>
                  <a:pt x="1133283" y="3680360"/>
                  <a:pt x="2176487" y="3680360"/>
                </a:cubicBezTo>
                <a:cubicBezTo>
                  <a:pt x="2372089" y="3680360"/>
                  <a:pt x="2560746" y="3650630"/>
                  <a:pt x="2738187" y="3595438"/>
                </a:cubicBezTo>
                <a:lnTo>
                  <a:pt x="2908402" y="3533139"/>
                </a:lnTo>
                <a:lnTo>
                  <a:pt x="3075537" y="3899200"/>
                </a:lnTo>
                <a:lnTo>
                  <a:pt x="3068346" y="3902664"/>
                </a:lnTo>
                <a:cubicBezTo>
                  <a:pt x="2794225" y="4018609"/>
                  <a:pt x="2492844" y="4082723"/>
                  <a:pt x="2176487" y="4082723"/>
                </a:cubicBezTo>
                <a:cubicBezTo>
                  <a:pt x="1276852" y="4082723"/>
                  <a:pt x="498313" y="3564236"/>
                  <a:pt x="123392" y="2809780"/>
                </a:cubicBezTo>
                <a:lnTo>
                  <a:pt x="0" y="2502125"/>
                </a:lnTo>
                <a:lnTo>
                  <a:pt x="0" y="1080290"/>
                </a:lnTo>
                <a:lnTo>
                  <a:pt x="111179" y="798118"/>
                </a:lnTo>
                <a:cubicBezTo>
                  <a:pt x="255977" y="497614"/>
                  <a:pt x="464428" y="233554"/>
                  <a:pt x="719040" y="23429"/>
                </a:cubicBezTo>
                <a:close/>
                <a:moveTo>
                  <a:pt x="0" y="0"/>
                </a:moveTo>
                <a:lnTo>
                  <a:pt x="445867" y="0"/>
                </a:lnTo>
                <a:lnTo>
                  <a:pt x="372294" y="71839"/>
                </a:lnTo>
                <a:cubicBezTo>
                  <a:pt x="248492" y="201690"/>
                  <a:pt x="138566" y="344887"/>
                  <a:pt x="44893" y="499052"/>
                </a:cubicBezTo>
                <a:lnTo>
                  <a:pt x="0" y="58674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975" b="0" i="0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2A6EC0F0-A9B5-4476-95C3-0AD2E674AA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5" name="Inhaltsplatzhalter 8">
            <a:extLst>
              <a:ext uri="{FF2B5EF4-FFF2-40B4-BE49-F238E27FC236}">
                <a16:creationId xmlns:a16="http://schemas.microsoft.com/office/drawing/2014/main" id="{BDB63C17-0320-4C97-8AB0-58AB655D8D9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953000" y="1847675"/>
            <a:ext cx="4270673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95CFC6A-8970-4400-B6FB-394E656A6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71951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links oben,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643490-D985-4FFE-9FD3-CB461F30C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0" y="1270000"/>
            <a:ext cx="4270672" cy="660352"/>
          </a:xfrm>
        </p:spPr>
        <p:txBody>
          <a:bodyPr anchor="b" anchorCtr="0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326B12-57C3-4246-B91A-5907F7698F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C26B255-646E-4212-A3E9-570F84D6B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reihandform 7">
            <a:extLst>
              <a:ext uri="{FF2B5EF4-FFF2-40B4-BE49-F238E27FC236}">
                <a16:creationId xmlns:a16="http://schemas.microsoft.com/office/drawing/2014/main" id="{5E70B5A2-61E7-47D9-9DFE-8DB0CC4DF810}"/>
              </a:ext>
            </a:extLst>
          </p:cNvPr>
          <p:cNvSpPr/>
          <p:nvPr/>
        </p:nvSpPr>
        <p:spPr>
          <a:xfrm rot="21149552">
            <a:off x="2703829" y="-71381"/>
            <a:ext cx="851659" cy="677831"/>
          </a:xfrm>
          <a:custGeom>
            <a:avLst/>
            <a:gdLst>
              <a:gd name="connsiteX0" fmla="*/ 0 w 1048195"/>
              <a:gd name="connsiteY0" fmla="*/ 0 h 677831"/>
              <a:gd name="connsiteX1" fmla="*/ 881236 w 1048195"/>
              <a:gd name="connsiteY1" fmla="*/ 116134 h 677831"/>
              <a:gd name="connsiteX2" fmla="*/ 966081 w 1048195"/>
              <a:gd name="connsiteY2" fmla="*/ 255793 h 677831"/>
              <a:gd name="connsiteX3" fmla="*/ 1048195 w 1048195"/>
              <a:gd name="connsiteY3" fmla="*/ 426251 h 677831"/>
              <a:gd name="connsiteX4" fmla="*/ 463746 w 1048195"/>
              <a:gd name="connsiteY4" fmla="*/ 677831 h 677831"/>
              <a:gd name="connsiteX5" fmla="*/ 406552 w 1048195"/>
              <a:gd name="connsiteY5" fmla="*/ 559107 h 677831"/>
              <a:gd name="connsiteX6" fmla="*/ 112895 w 1048195"/>
              <a:gd name="connsiteY6" fmla="*/ 124216 h 67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8195" h="677831">
                <a:moveTo>
                  <a:pt x="0" y="0"/>
                </a:moveTo>
                <a:lnTo>
                  <a:pt x="881236" y="116134"/>
                </a:lnTo>
                <a:lnTo>
                  <a:pt x="966081" y="255793"/>
                </a:lnTo>
                <a:lnTo>
                  <a:pt x="1048195" y="426251"/>
                </a:lnTo>
                <a:lnTo>
                  <a:pt x="463746" y="677831"/>
                </a:lnTo>
                <a:lnTo>
                  <a:pt x="406552" y="559107"/>
                </a:lnTo>
                <a:cubicBezTo>
                  <a:pt x="322569" y="404506"/>
                  <a:pt x="224073" y="258933"/>
                  <a:pt x="112895" y="124216"/>
                </a:cubicBezTo>
                <a:close/>
              </a:path>
            </a:pathLst>
          </a:custGeom>
          <a:solidFill>
            <a:schemeClr val="bg1">
              <a:lumMod val="8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7" name="Freihandform 8">
            <a:extLst>
              <a:ext uri="{FF2B5EF4-FFF2-40B4-BE49-F238E27FC236}">
                <a16:creationId xmlns:a16="http://schemas.microsoft.com/office/drawing/2014/main" id="{18DDE77D-867F-4B36-84BC-9D808B2C64F1}"/>
              </a:ext>
            </a:extLst>
          </p:cNvPr>
          <p:cNvSpPr/>
          <p:nvPr/>
        </p:nvSpPr>
        <p:spPr>
          <a:xfrm rot="18058433">
            <a:off x="95415" y="3918812"/>
            <a:ext cx="698478" cy="1360171"/>
          </a:xfrm>
          <a:custGeom>
            <a:avLst/>
            <a:gdLst>
              <a:gd name="connsiteX0" fmla="*/ 680347 w 698478"/>
              <a:gd name="connsiteY0" fmla="*/ 0 h 1674057"/>
              <a:gd name="connsiteX1" fmla="*/ 635073 w 698478"/>
              <a:gd name="connsiteY1" fmla="*/ 172208 h 1674057"/>
              <a:gd name="connsiteX2" fmla="*/ 572257 w 698478"/>
              <a:gd name="connsiteY2" fmla="*/ 742263 h 1674057"/>
              <a:gd name="connsiteX3" fmla="*/ 682543 w 698478"/>
              <a:gd name="connsiteY3" fmla="*/ 1492880 h 1674057"/>
              <a:gd name="connsiteX4" fmla="*/ 698478 w 698478"/>
              <a:gd name="connsiteY4" fmla="*/ 1537680 h 1674057"/>
              <a:gd name="connsiteX5" fmla="*/ 168340 w 698478"/>
              <a:gd name="connsiteY5" fmla="*/ 1674057 h 1674057"/>
              <a:gd name="connsiteX6" fmla="*/ 113660 w 698478"/>
              <a:gd name="connsiteY6" fmla="*/ 1582961 h 1674057"/>
              <a:gd name="connsiteX7" fmla="*/ 77470 w 698478"/>
              <a:gd name="connsiteY7" fmla="*/ 1445302 h 1674057"/>
              <a:gd name="connsiteX8" fmla="*/ 0 w 698478"/>
              <a:gd name="connsiteY8" fmla="*/ 742264 h 1674057"/>
              <a:gd name="connsiteX9" fmla="*/ 8822 w 698478"/>
              <a:gd name="connsiteY9" fmla="*/ 502746 h 1674057"/>
              <a:gd name="connsiteX10" fmla="*/ 20675 w 698478"/>
              <a:gd name="connsiteY10" fmla="*/ 395961 h 1674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98478" h="1674057">
                <a:moveTo>
                  <a:pt x="680347" y="0"/>
                </a:moveTo>
                <a:lnTo>
                  <a:pt x="635073" y="172208"/>
                </a:lnTo>
                <a:cubicBezTo>
                  <a:pt x="593976" y="355401"/>
                  <a:pt x="572257" y="546222"/>
                  <a:pt x="572257" y="742263"/>
                </a:cubicBezTo>
                <a:cubicBezTo>
                  <a:pt x="572257" y="1003652"/>
                  <a:pt x="610869" y="1255760"/>
                  <a:pt x="682543" y="1492880"/>
                </a:cubicBezTo>
                <a:lnTo>
                  <a:pt x="698478" y="1537680"/>
                </a:lnTo>
                <a:lnTo>
                  <a:pt x="168340" y="1674057"/>
                </a:lnTo>
                <a:lnTo>
                  <a:pt x="113660" y="1582961"/>
                </a:lnTo>
                <a:lnTo>
                  <a:pt x="77470" y="1445302"/>
                </a:lnTo>
                <a:cubicBezTo>
                  <a:pt x="26785" y="1219374"/>
                  <a:pt x="0" y="984038"/>
                  <a:pt x="0" y="742264"/>
                </a:cubicBezTo>
                <a:cubicBezTo>
                  <a:pt x="0" y="661672"/>
                  <a:pt x="2976" y="581796"/>
                  <a:pt x="8822" y="502746"/>
                </a:cubicBezTo>
                <a:lnTo>
                  <a:pt x="20675" y="395961"/>
                </a:lnTo>
                <a:close/>
              </a:path>
            </a:pathLst>
          </a:custGeom>
          <a:solidFill>
            <a:schemeClr val="bg1">
              <a:lumMod val="8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8" name="Freihandform 9">
            <a:extLst>
              <a:ext uri="{FF2B5EF4-FFF2-40B4-BE49-F238E27FC236}">
                <a16:creationId xmlns:a16="http://schemas.microsoft.com/office/drawing/2014/main" id="{77ADB59E-F4E1-4988-AFE5-58CD00116D93}"/>
              </a:ext>
            </a:extLst>
          </p:cNvPr>
          <p:cNvSpPr/>
          <p:nvPr/>
        </p:nvSpPr>
        <p:spPr>
          <a:xfrm rot="4774343">
            <a:off x="2647101" y="2770538"/>
            <a:ext cx="1189458" cy="1046670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chemeClr val="bg1">
              <a:lumMod val="8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9" name="Freihandform 10">
            <a:extLst>
              <a:ext uri="{FF2B5EF4-FFF2-40B4-BE49-F238E27FC236}">
                <a16:creationId xmlns:a16="http://schemas.microsoft.com/office/drawing/2014/main" id="{9BE2D55F-513E-4C24-B2A7-F5AE0178E096}"/>
              </a:ext>
            </a:extLst>
          </p:cNvPr>
          <p:cNvSpPr/>
          <p:nvPr/>
        </p:nvSpPr>
        <p:spPr>
          <a:xfrm rot="13644815">
            <a:off x="3481512" y="3415288"/>
            <a:ext cx="612188" cy="1685488"/>
          </a:xfrm>
          <a:custGeom>
            <a:avLst/>
            <a:gdLst>
              <a:gd name="connsiteX0" fmla="*/ 106983 w 527832"/>
              <a:gd name="connsiteY0" fmla="*/ 0 h 1379153"/>
              <a:gd name="connsiteX1" fmla="*/ 527832 w 527832"/>
              <a:gd name="connsiteY1" fmla="*/ 105212 h 1379153"/>
              <a:gd name="connsiteX2" fmla="*/ 514987 w 527832"/>
              <a:gd name="connsiteY2" fmla="*/ 140308 h 1379153"/>
              <a:gd name="connsiteX3" fmla="*/ 431775 w 527832"/>
              <a:gd name="connsiteY3" fmla="*/ 690699 h 1379153"/>
              <a:gd name="connsiteX4" fmla="*/ 514987 w 527832"/>
              <a:gd name="connsiteY4" fmla="*/ 1241091 h 1379153"/>
              <a:gd name="connsiteX5" fmla="*/ 527010 w 527832"/>
              <a:gd name="connsiteY5" fmla="*/ 1273941 h 1379153"/>
              <a:gd name="connsiteX6" fmla="*/ 106161 w 527832"/>
              <a:gd name="connsiteY6" fmla="*/ 1379153 h 1379153"/>
              <a:gd name="connsiteX7" fmla="*/ 102623 w 527832"/>
              <a:gd name="connsiteY7" fmla="*/ 1369487 h 1379153"/>
              <a:gd name="connsiteX8" fmla="*/ 0 w 527832"/>
              <a:gd name="connsiteY8" fmla="*/ 690699 h 1379153"/>
              <a:gd name="connsiteX9" fmla="*/ 102623 w 527832"/>
              <a:gd name="connsiteY9" fmla="*/ 11911 h 137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7832" h="1379153">
                <a:moveTo>
                  <a:pt x="106983" y="0"/>
                </a:moveTo>
                <a:lnTo>
                  <a:pt x="527832" y="105212"/>
                </a:lnTo>
                <a:lnTo>
                  <a:pt x="514987" y="140308"/>
                </a:lnTo>
                <a:cubicBezTo>
                  <a:pt x="460908" y="314176"/>
                  <a:pt x="431775" y="499035"/>
                  <a:pt x="431775" y="690699"/>
                </a:cubicBezTo>
                <a:cubicBezTo>
                  <a:pt x="431775" y="882363"/>
                  <a:pt x="460908" y="1067222"/>
                  <a:pt x="514987" y="1241091"/>
                </a:cubicBezTo>
                <a:lnTo>
                  <a:pt x="527010" y="1273941"/>
                </a:lnTo>
                <a:lnTo>
                  <a:pt x="106161" y="1379153"/>
                </a:lnTo>
                <a:lnTo>
                  <a:pt x="102623" y="1369487"/>
                </a:lnTo>
                <a:cubicBezTo>
                  <a:pt x="35929" y="1155058"/>
                  <a:pt x="0" y="927075"/>
                  <a:pt x="0" y="690699"/>
                </a:cubicBezTo>
                <a:cubicBezTo>
                  <a:pt x="0" y="454324"/>
                  <a:pt x="35929" y="226340"/>
                  <a:pt x="102623" y="11911"/>
                </a:cubicBezTo>
                <a:close/>
              </a:path>
            </a:pathLst>
          </a:custGeom>
          <a:solidFill>
            <a:schemeClr val="bg1">
              <a:lumMod val="8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0" name="Freihandform 11">
            <a:extLst>
              <a:ext uri="{FF2B5EF4-FFF2-40B4-BE49-F238E27FC236}">
                <a16:creationId xmlns:a16="http://schemas.microsoft.com/office/drawing/2014/main" id="{AB277618-A1C4-4866-8BCF-01A10261D247}"/>
              </a:ext>
            </a:extLst>
          </p:cNvPr>
          <p:cNvSpPr/>
          <p:nvPr/>
        </p:nvSpPr>
        <p:spPr>
          <a:xfrm rot="2158040">
            <a:off x="4565302" y="2953744"/>
            <a:ext cx="331903" cy="442410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chemeClr val="bg1">
              <a:lumMod val="8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1" name="Bildplatzhalter 27">
            <a:extLst>
              <a:ext uri="{FF2B5EF4-FFF2-40B4-BE49-F238E27FC236}">
                <a16:creationId xmlns:a16="http://schemas.microsoft.com/office/drawing/2014/main" id="{941298A0-5D60-4135-BB03-1C926D7D788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0" y="0"/>
            <a:ext cx="4283879" cy="4887448"/>
          </a:xfrm>
          <a:custGeom>
            <a:avLst/>
            <a:gdLst>
              <a:gd name="connsiteX0" fmla="*/ 4974758 w 5272466"/>
              <a:gd name="connsiteY0" fmla="*/ 473426 h 4887448"/>
              <a:gd name="connsiteX1" fmla="*/ 5029169 w 5272466"/>
              <a:gd name="connsiteY1" fmla="*/ 586376 h 4887448"/>
              <a:gd name="connsiteX2" fmla="*/ 5272466 w 5272466"/>
              <a:gd name="connsiteY2" fmla="*/ 1791470 h 4887448"/>
              <a:gd name="connsiteX3" fmla="*/ 2176487 w 5272466"/>
              <a:gd name="connsiteY3" fmla="*/ 4887448 h 4887448"/>
              <a:gd name="connsiteX4" fmla="*/ 94823 w 5272466"/>
              <a:gd name="connsiteY4" fmla="*/ 4083169 h 4887448"/>
              <a:gd name="connsiteX5" fmla="*/ 0 w 5272466"/>
              <a:gd name="connsiteY5" fmla="*/ 3990581 h 4887448"/>
              <a:gd name="connsiteX6" fmla="*/ 0 w 5272466"/>
              <a:gd name="connsiteY6" fmla="*/ 2996193 h 4887448"/>
              <a:gd name="connsiteX7" fmla="*/ 44893 w 5272466"/>
              <a:gd name="connsiteY7" fmla="*/ 3083886 h 4887448"/>
              <a:gd name="connsiteX8" fmla="*/ 2176487 w 5272466"/>
              <a:gd name="connsiteY8" fmla="*/ 4283900 h 4887448"/>
              <a:gd name="connsiteX9" fmla="*/ 4668920 w 5272466"/>
              <a:gd name="connsiteY9" fmla="*/ 1791469 h 4887448"/>
              <a:gd name="connsiteX10" fmla="*/ 4473051 w 5272466"/>
              <a:gd name="connsiteY10" fmla="*/ 821302 h 4887448"/>
              <a:gd name="connsiteX11" fmla="*/ 4420420 w 5272466"/>
              <a:gd name="connsiteY11" fmla="*/ 712045 h 4887448"/>
              <a:gd name="connsiteX12" fmla="*/ 2176487 w 5272466"/>
              <a:gd name="connsiteY12" fmla="*/ 3172 h 4887448"/>
              <a:gd name="connsiteX13" fmla="*/ 3964785 w 5272466"/>
              <a:gd name="connsiteY13" fmla="*/ 1791470 h 4887448"/>
              <a:gd name="connsiteX14" fmla="*/ 2176487 w 5272466"/>
              <a:gd name="connsiteY14" fmla="*/ 3579768 h 4887448"/>
              <a:gd name="connsiteX15" fmla="*/ 388189 w 5272466"/>
              <a:gd name="connsiteY15" fmla="*/ 1791470 h 4887448"/>
              <a:gd name="connsiteX16" fmla="*/ 2176487 w 5272466"/>
              <a:gd name="connsiteY16" fmla="*/ 3172 h 4887448"/>
              <a:gd name="connsiteX17" fmla="*/ 2772249 w 5272466"/>
              <a:gd name="connsiteY17" fmla="*/ 0 h 4887448"/>
              <a:gd name="connsiteX18" fmla="*/ 3601845 w 5272466"/>
              <a:gd name="connsiteY18" fmla="*/ 0 h 4887448"/>
              <a:gd name="connsiteX19" fmla="*/ 3675942 w 5272466"/>
              <a:gd name="connsiteY19" fmla="*/ 58947 h 4887448"/>
              <a:gd name="connsiteX20" fmla="*/ 4467740 w 5272466"/>
              <a:gd name="connsiteY20" fmla="*/ 1791470 h 4887448"/>
              <a:gd name="connsiteX21" fmla="*/ 4076430 w 5272466"/>
              <a:gd name="connsiteY21" fmla="*/ 3072531 h 4887448"/>
              <a:gd name="connsiteX22" fmla="*/ 4039982 w 5272466"/>
              <a:gd name="connsiteY22" fmla="*/ 3121272 h 4887448"/>
              <a:gd name="connsiteX23" fmla="*/ 3720616 w 5272466"/>
              <a:gd name="connsiteY23" fmla="*/ 2877212 h 4887448"/>
              <a:gd name="connsiteX24" fmla="*/ 3742785 w 5272466"/>
              <a:gd name="connsiteY24" fmla="*/ 2847568 h 4887448"/>
              <a:gd name="connsiteX25" fmla="*/ 4065377 w 5272466"/>
              <a:gd name="connsiteY25" fmla="*/ 1791470 h 4887448"/>
              <a:gd name="connsiteX26" fmla="*/ 2859702 w 5272466"/>
              <a:gd name="connsiteY26" fmla="*/ 29925 h 4887448"/>
              <a:gd name="connsiteX27" fmla="*/ 749601 w 5272466"/>
              <a:gd name="connsiteY27" fmla="*/ 0 h 4887448"/>
              <a:gd name="connsiteX28" fmla="*/ 1571630 w 5272466"/>
              <a:gd name="connsiteY28" fmla="*/ 0 h 4887448"/>
              <a:gd name="connsiteX29" fmla="*/ 1572591 w 5272466"/>
              <a:gd name="connsiteY29" fmla="*/ 2947 h 4887448"/>
              <a:gd name="connsiteX30" fmla="*/ 1441249 w 5272466"/>
              <a:gd name="connsiteY30" fmla="*/ 51019 h 4887448"/>
              <a:gd name="connsiteX31" fmla="*/ 287599 w 5272466"/>
              <a:gd name="connsiteY31" fmla="*/ 1791470 h 4887448"/>
              <a:gd name="connsiteX32" fmla="*/ 2176487 w 5272466"/>
              <a:gd name="connsiteY32" fmla="*/ 3680360 h 4887448"/>
              <a:gd name="connsiteX33" fmla="*/ 2738187 w 5272466"/>
              <a:gd name="connsiteY33" fmla="*/ 3595438 h 4887448"/>
              <a:gd name="connsiteX34" fmla="*/ 2908402 w 5272466"/>
              <a:gd name="connsiteY34" fmla="*/ 3533139 h 4887448"/>
              <a:gd name="connsiteX35" fmla="*/ 3075537 w 5272466"/>
              <a:gd name="connsiteY35" fmla="*/ 3899200 h 4887448"/>
              <a:gd name="connsiteX36" fmla="*/ 3068346 w 5272466"/>
              <a:gd name="connsiteY36" fmla="*/ 3902664 h 4887448"/>
              <a:gd name="connsiteX37" fmla="*/ 2176487 w 5272466"/>
              <a:gd name="connsiteY37" fmla="*/ 4082723 h 4887448"/>
              <a:gd name="connsiteX38" fmla="*/ 123392 w 5272466"/>
              <a:gd name="connsiteY38" fmla="*/ 2809780 h 4887448"/>
              <a:gd name="connsiteX39" fmla="*/ 0 w 5272466"/>
              <a:gd name="connsiteY39" fmla="*/ 2502125 h 4887448"/>
              <a:gd name="connsiteX40" fmla="*/ 0 w 5272466"/>
              <a:gd name="connsiteY40" fmla="*/ 1080290 h 4887448"/>
              <a:gd name="connsiteX41" fmla="*/ 111179 w 5272466"/>
              <a:gd name="connsiteY41" fmla="*/ 798118 h 4887448"/>
              <a:gd name="connsiteX42" fmla="*/ 719040 w 5272466"/>
              <a:gd name="connsiteY42" fmla="*/ 23429 h 4887448"/>
              <a:gd name="connsiteX43" fmla="*/ 0 w 5272466"/>
              <a:gd name="connsiteY43" fmla="*/ 0 h 4887448"/>
              <a:gd name="connsiteX44" fmla="*/ 445867 w 5272466"/>
              <a:gd name="connsiteY44" fmla="*/ 0 h 4887448"/>
              <a:gd name="connsiteX45" fmla="*/ 372294 w 5272466"/>
              <a:gd name="connsiteY45" fmla="*/ 71839 h 4887448"/>
              <a:gd name="connsiteX46" fmla="*/ 44893 w 5272466"/>
              <a:gd name="connsiteY46" fmla="*/ 499052 h 4887448"/>
              <a:gd name="connsiteX47" fmla="*/ 0 w 5272466"/>
              <a:gd name="connsiteY47" fmla="*/ 586745 h 488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272466" h="4887448">
                <a:moveTo>
                  <a:pt x="4974758" y="473426"/>
                </a:moveTo>
                <a:lnTo>
                  <a:pt x="5029169" y="586376"/>
                </a:lnTo>
                <a:cubicBezTo>
                  <a:pt x="5185833" y="956774"/>
                  <a:pt x="5272466" y="1364006"/>
                  <a:pt x="5272466" y="1791470"/>
                </a:cubicBezTo>
                <a:cubicBezTo>
                  <a:pt x="5272466" y="3501332"/>
                  <a:pt x="3886349" y="4887448"/>
                  <a:pt x="2176487" y="4887448"/>
                </a:cubicBezTo>
                <a:cubicBezTo>
                  <a:pt x="1374991" y="4887448"/>
                  <a:pt x="644629" y="4582882"/>
                  <a:pt x="94823" y="4083169"/>
                </a:cubicBezTo>
                <a:lnTo>
                  <a:pt x="0" y="3990581"/>
                </a:lnTo>
                <a:lnTo>
                  <a:pt x="0" y="2996193"/>
                </a:lnTo>
                <a:lnTo>
                  <a:pt x="44893" y="3083886"/>
                </a:lnTo>
                <a:cubicBezTo>
                  <a:pt x="482033" y="3803324"/>
                  <a:pt x="1273138" y="4283900"/>
                  <a:pt x="2176487" y="4283900"/>
                </a:cubicBezTo>
                <a:cubicBezTo>
                  <a:pt x="3553019" y="4283900"/>
                  <a:pt x="4668920" y="3168002"/>
                  <a:pt x="4668920" y="1791469"/>
                </a:cubicBezTo>
                <a:cubicBezTo>
                  <a:pt x="4668920" y="1447336"/>
                  <a:pt x="4599176" y="1119491"/>
                  <a:pt x="4473051" y="821302"/>
                </a:cubicBezTo>
                <a:lnTo>
                  <a:pt x="4420420" y="712045"/>
                </a:lnTo>
                <a:close/>
                <a:moveTo>
                  <a:pt x="2176487" y="3172"/>
                </a:moveTo>
                <a:cubicBezTo>
                  <a:pt x="3164137" y="3172"/>
                  <a:pt x="3964785" y="803820"/>
                  <a:pt x="3964785" y="1791470"/>
                </a:cubicBezTo>
                <a:cubicBezTo>
                  <a:pt x="3964785" y="2779120"/>
                  <a:pt x="3164137" y="3579768"/>
                  <a:pt x="2176487" y="3579768"/>
                </a:cubicBezTo>
                <a:cubicBezTo>
                  <a:pt x="1188839" y="3579768"/>
                  <a:pt x="388189" y="2779120"/>
                  <a:pt x="388189" y="1791470"/>
                </a:cubicBezTo>
                <a:cubicBezTo>
                  <a:pt x="388189" y="803820"/>
                  <a:pt x="1188839" y="3172"/>
                  <a:pt x="2176487" y="3172"/>
                </a:cubicBezTo>
                <a:close/>
                <a:moveTo>
                  <a:pt x="2772249" y="0"/>
                </a:moveTo>
                <a:lnTo>
                  <a:pt x="3601845" y="0"/>
                </a:lnTo>
                <a:lnTo>
                  <a:pt x="3675942" y="58947"/>
                </a:lnTo>
                <a:cubicBezTo>
                  <a:pt x="4160943" y="479070"/>
                  <a:pt x="4467740" y="1099442"/>
                  <a:pt x="4467740" y="1791470"/>
                </a:cubicBezTo>
                <a:cubicBezTo>
                  <a:pt x="4467740" y="2266005"/>
                  <a:pt x="4323483" y="2706844"/>
                  <a:pt x="4076430" y="3072531"/>
                </a:cubicBezTo>
                <a:lnTo>
                  <a:pt x="4039982" y="3121272"/>
                </a:lnTo>
                <a:lnTo>
                  <a:pt x="3720616" y="2877212"/>
                </a:lnTo>
                <a:lnTo>
                  <a:pt x="3742785" y="2847568"/>
                </a:lnTo>
                <a:cubicBezTo>
                  <a:pt x="3946454" y="2546098"/>
                  <a:pt x="4065377" y="2182673"/>
                  <a:pt x="4065377" y="1791470"/>
                </a:cubicBezTo>
                <a:cubicBezTo>
                  <a:pt x="4065377" y="989202"/>
                  <a:pt x="3565215" y="303750"/>
                  <a:pt x="2859702" y="29925"/>
                </a:cubicBezTo>
                <a:close/>
                <a:moveTo>
                  <a:pt x="749601" y="0"/>
                </a:moveTo>
                <a:lnTo>
                  <a:pt x="1571630" y="0"/>
                </a:lnTo>
                <a:lnTo>
                  <a:pt x="1572591" y="2947"/>
                </a:lnTo>
                <a:lnTo>
                  <a:pt x="1441249" y="51019"/>
                </a:lnTo>
                <a:cubicBezTo>
                  <a:pt x="763297" y="337770"/>
                  <a:pt x="287599" y="1009067"/>
                  <a:pt x="287599" y="1791470"/>
                </a:cubicBezTo>
                <a:cubicBezTo>
                  <a:pt x="287599" y="2834674"/>
                  <a:pt x="1133283" y="3680360"/>
                  <a:pt x="2176487" y="3680360"/>
                </a:cubicBezTo>
                <a:cubicBezTo>
                  <a:pt x="2372089" y="3680360"/>
                  <a:pt x="2560746" y="3650630"/>
                  <a:pt x="2738187" y="3595438"/>
                </a:cubicBezTo>
                <a:lnTo>
                  <a:pt x="2908402" y="3533139"/>
                </a:lnTo>
                <a:lnTo>
                  <a:pt x="3075537" y="3899200"/>
                </a:lnTo>
                <a:lnTo>
                  <a:pt x="3068346" y="3902664"/>
                </a:lnTo>
                <a:cubicBezTo>
                  <a:pt x="2794225" y="4018609"/>
                  <a:pt x="2492844" y="4082723"/>
                  <a:pt x="2176487" y="4082723"/>
                </a:cubicBezTo>
                <a:cubicBezTo>
                  <a:pt x="1276852" y="4082723"/>
                  <a:pt x="498313" y="3564236"/>
                  <a:pt x="123392" y="2809780"/>
                </a:cubicBezTo>
                <a:lnTo>
                  <a:pt x="0" y="2502125"/>
                </a:lnTo>
                <a:lnTo>
                  <a:pt x="0" y="1080290"/>
                </a:lnTo>
                <a:lnTo>
                  <a:pt x="111179" y="798118"/>
                </a:lnTo>
                <a:cubicBezTo>
                  <a:pt x="255977" y="497614"/>
                  <a:pt x="464428" y="233554"/>
                  <a:pt x="719040" y="23429"/>
                </a:cubicBezTo>
                <a:close/>
                <a:moveTo>
                  <a:pt x="0" y="0"/>
                </a:moveTo>
                <a:lnTo>
                  <a:pt x="445867" y="0"/>
                </a:lnTo>
                <a:lnTo>
                  <a:pt x="372294" y="71839"/>
                </a:lnTo>
                <a:cubicBezTo>
                  <a:pt x="248492" y="201690"/>
                  <a:pt x="138566" y="344887"/>
                  <a:pt x="44893" y="499052"/>
                </a:cubicBezTo>
                <a:lnTo>
                  <a:pt x="0" y="58674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975" b="0" i="0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20" name="Inhaltsplatzhalter 8">
            <a:extLst>
              <a:ext uri="{FF2B5EF4-FFF2-40B4-BE49-F238E27FC236}">
                <a16:creationId xmlns:a16="http://schemas.microsoft.com/office/drawing/2014/main" id="{B40D2938-A291-4B2D-88F7-7B2F29289AB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953000" y="2351088"/>
            <a:ext cx="4270673" cy="39576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grpSp>
        <p:nvGrpSpPr>
          <p:cNvPr id="22" name="Group 698">
            <a:extLst>
              <a:ext uri="{FF2B5EF4-FFF2-40B4-BE49-F238E27FC236}">
                <a16:creationId xmlns:a16="http://schemas.microsoft.com/office/drawing/2014/main" id="{06B0DC94-65FD-490C-8564-D9C1CBD974F0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3" name="AutoShape 697">
              <a:extLst>
                <a:ext uri="{FF2B5EF4-FFF2-40B4-BE49-F238E27FC236}">
                  <a16:creationId xmlns:a16="http://schemas.microsoft.com/office/drawing/2014/main" id="{22E2ED23-5511-49B2-844A-AA3086F9247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4" name="Oval 699">
              <a:extLst>
                <a:ext uri="{FF2B5EF4-FFF2-40B4-BE49-F238E27FC236}">
                  <a16:creationId xmlns:a16="http://schemas.microsoft.com/office/drawing/2014/main" id="{8E67B584-8169-4308-9379-B81E83D13362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5" name="Freeform 700">
              <a:extLst>
                <a:ext uri="{FF2B5EF4-FFF2-40B4-BE49-F238E27FC236}">
                  <a16:creationId xmlns:a16="http://schemas.microsoft.com/office/drawing/2014/main" id="{536A7AC9-53EA-4373-AEA5-9EA8AC19FE57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6" name="Freeform 701">
              <a:extLst>
                <a:ext uri="{FF2B5EF4-FFF2-40B4-BE49-F238E27FC236}">
                  <a16:creationId xmlns:a16="http://schemas.microsoft.com/office/drawing/2014/main" id="{ADF7C0D9-725A-4C2F-800D-759FE23C9CC6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7" name="Freeform 702">
              <a:extLst>
                <a:ext uri="{FF2B5EF4-FFF2-40B4-BE49-F238E27FC236}">
                  <a16:creationId xmlns:a16="http://schemas.microsoft.com/office/drawing/2014/main" id="{80D761F8-703D-47CF-A4B7-255600A6E7C0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64420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rechts unten, 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ihandform 14">
            <a:extLst>
              <a:ext uri="{FF2B5EF4-FFF2-40B4-BE49-F238E27FC236}">
                <a16:creationId xmlns:a16="http://schemas.microsoft.com/office/drawing/2014/main" id="{FC0FE4D2-EB84-4B4C-BEEC-385A5095A1FA}"/>
              </a:ext>
            </a:extLst>
          </p:cNvPr>
          <p:cNvSpPr/>
          <p:nvPr/>
        </p:nvSpPr>
        <p:spPr>
          <a:xfrm rot="7258433">
            <a:off x="8983506" y="1105256"/>
            <a:ext cx="699567" cy="1461202"/>
          </a:xfrm>
          <a:custGeom>
            <a:avLst/>
            <a:gdLst>
              <a:gd name="connsiteX0" fmla="*/ 238589 w 699567"/>
              <a:gd name="connsiteY0" fmla="*/ 1798402 h 1798402"/>
              <a:gd name="connsiteX1" fmla="*/ 61893 w 699567"/>
              <a:gd name="connsiteY1" fmla="*/ 1504027 h 1798402"/>
              <a:gd name="connsiteX2" fmla="*/ 34859 w 699567"/>
              <a:gd name="connsiteY2" fmla="*/ 1358765 h 1798402"/>
              <a:gd name="connsiteX3" fmla="*/ 0 w 699567"/>
              <a:gd name="connsiteY3" fmla="*/ 884680 h 1798402"/>
              <a:gd name="connsiteX4" fmla="*/ 77469 w 699567"/>
              <a:gd name="connsiteY4" fmla="*/ 181641 h 1798402"/>
              <a:gd name="connsiteX5" fmla="*/ 80394 w 699567"/>
              <a:gd name="connsiteY5" fmla="*/ 170516 h 1798402"/>
              <a:gd name="connsiteX6" fmla="*/ 364475 w 699567"/>
              <a:gd name="connsiteY6" fmla="*/ 0 h 1798402"/>
              <a:gd name="connsiteX7" fmla="*/ 699567 w 699567"/>
              <a:gd name="connsiteY7" fmla="*/ 86202 h 1798402"/>
              <a:gd name="connsiteX8" fmla="*/ 682543 w 699567"/>
              <a:gd name="connsiteY8" fmla="*/ 134065 h 1798402"/>
              <a:gd name="connsiteX9" fmla="*/ 572257 w 699567"/>
              <a:gd name="connsiteY9" fmla="*/ 884680 h 1798402"/>
              <a:gd name="connsiteX10" fmla="*/ 682543 w 699567"/>
              <a:gd name="connsiteY10" fmla="*/ 1635297 h 1798402"/>
              <a:gd name="connsiteX11" fmla="*/ 698478 w 699567"/>
              <a:gd name="connsiteY11" fmla="*/ 1680098 h 1798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9567" h="1798402">
                <a:moveTo>
                  <a:pt x="238589" y="1798402"/>
                </a:moveTo>
                <a:lnTo>
                  <a:pt x="61893" y="1504027"/>
                </a:lnTo>
                <a:lnTo>
                  <a:pt x="34859" y="1358765"/>
                </a:lnTo>
                <a:cubicBezTo>
                  <a:pt x="11905" y="1204184"/>
                  <a:pt x="0" y="1045863"/>
                  <a:pt x="0" y="884680"/>
                </a:cubicBezTo>
                <a:cubicBezTo>
                  <a:pt x="0" y="642907"/>
                  <a:pt x="26786" y="407570"/>
                  <a:pt x="77469" y="181641"/>
                </a:cubicBezTo>
                <a:lnTo>
                  <a:pt x="80394" y="170516"/>
                </a:lnTo>
                <a:lnTo>
                  <a:pt x="364475" y="0"/>
                </a:lnTo>
                <a:lnTo>
                  <a:pt x="699567" y="86202"/>
                </a:lnTo>
                <a:lnTo>
                  <a:pt x="682543" y="134065"/>
                </a:lnTo>
                <a:cubicBezTo>
                  <a:pt x="610869" y="371184"/>
                  <a:pt x="572257" y="623291"/>
                  <a:pt x="572257" y="884680"/>
                </a:cubicBezTo>
                <a:cubicBezTo>
                  <a:pt x="572257" y="1146069"/>
                  <a:pt x="610869" y="1398177"/>
                  <a:pt x="682543" y="1635297"/>
                </a:cubicBezTo>
                <a:lnTo>
                  <a:pt x="698478" y="1680098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7" name="Freihandform 15">
            <a:extLst>
              <a:ext uri="{FF2B5EF4-FFF2-40B4-BE49-F238E27FC236}">
                <a16:creationId xmlns:a16="http://schemas.microsoft.com/office/drawing/2014/main" id="{C69FF0FE-0706-488B-8E5E-6A3585FCE16B}"/>
              </a:ext>
            </a:extLst>
          </p:cNvPr>
          <p:cNvSpPr/>
          <p:nvPr/>
        </p:nvSpPr>
        <p:spPr>
          <a:xfrm rot="12686101">
            <a:off x="4861411" y="4648256"/>
            <a:ext cx="1165470" cy="1553513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8" name="Freihandform 16">
            <a:extLst>
              <a:ext uri="{FF2B5EF4-FFF2-40B4-BE49-F238E27FC236}">
                <a16:creationId xmlns:a16="http://schemas.microsoft.com/office/drawing/2014/main" id="{A8742BBA-0CBF-48D8-9329-71399B78C292}"/>
              </a:ext>
            </a:extLst>
          </p:cNvPr>
          <p:cNvSpPr/>
          <p:nvPr/>
        </p:nvSpPr>
        <p:spPr>
          <a:xfrm rot="4789192">
            <a:off x="9067313" y="6026875"/>
            <a:ext cx="668081" cy="587881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9" name="Freihandform 17">
            <a:extLst>
              <a:ext uri="{FF2B5EF4-FFF2-40B4-BE49-F238E27FC236}">
                <a16:creationId xmlns:a16="http://schemas.microsoft.com/office/drawing/2014/main" id="{E533DC01-B03A-4726-A91A-585D55216EC6}"/>
              </a:ext>
            </a:extLst>
          </p:cNvPr>
          <p:cNvSpPr/>
          <p:nvPr/>
        </p:nvSpPr>
        <p:spPr>
          <a:xfrm rot="14209015">
            <a:off x="4739204" y="3676744"/>
            <a:ext cx="408496" cy="359458"/>
          </a:xfrm>
          <a:custGeom>
            <a:avLst/>
            <a:gdLst>
              <a:gd name="connsiteX0" fmla="*/ 269442 w 899152"/>
              <a:gd name="connsiteY0" fmla="*/ 0 h 973801"/>
              <a:gd name="connsiteX1" fmla="*/ 288267 w 899152"/>
              <a:gd name="connsiteY1" fmla="*/ 14077 h 973801"/>
              <a:gd name="connsiteX2" fmla="*/ 843434 w 899152"/>
              <a:gd name="connsiteY2" fmla="*/ 687432 h 973801"/>
              <a:gd name="connsiteX3" fmla="*/ 899152 w 899152"/>
              <a:gd name="connsiteY3" fmla="*/ 803094 h 973801"/>
              <a:gd name="connsiteX4" fmla="*/ 502580 w 899152"/>
              <a:gd name="connsiteY4" fmla="*/ 973801 h 973801"/>
              <a:gd name="connsiteX5" fmla="*/ 463772 w 899152"/>
              <a:gd name="connsiteY5" fmla="*/ 893242 h 973801"/>
              <a:gd name="connsiteX6" fmla="*/ 13618 w 899152"/>
              <a:gd name="connsiteY6" fmla="*/ 347255 h 973801"/>
              <a:gd name="connsiteX7" fmla="*/ 0 w 899152"/>
              <a:gd name="connsiteY7" fmla="*/ 337072 h 9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9152" h="973801">
                <a:moveTo>
                  <a:pt x="269442" y="0"/>
                </a:moveTo>
                <a:lnTo>
                  <a:pt x="288267" y="14077"/>
                </a:lnTo>
                <a:cubicBezTo>
                  <a:pt x="513739" y="200152"/>
                  <a:pt x="702874" y="428684"/>
                  <a:pt x="843434" y="687432"/>
                </a:cubicBezTo>
                <a:lnTo>
                  <a:pt x="899152" y="803094"/>
                </a:lnTo>
                <a:lnTo>
                  <a:pt x="502580" y="973801"/>
                </a:lnTo>
                <a:lnTo>
                  <a:pt x="463772" y="893242"/>
                </a:lnTo>
                <a:cubicBezTo>
                  <a:pt x="349800" y="683437"/>
                  <a:pt x="196440" y="498134"/>
                  <a:pt x="13618" y="347255"/>
                </a:cubicBezTo>
                <a:lnTo>
                  <a:pt x="0" y="337072"/>
                </a:ln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0" name="Bildplatzhalter 14">
            <a:extLst>
              <a:ext uri="{FF2B5EF4-FFF2-40B4-BE49-F238E27FC236}">
                <a16:creationId xmlns:a16="http://schemas.microsoft.com/office/drawing/2014/main" id="{C16F9960-49A2-4A4C-B641-74BC85D94B3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589471" y="1889812"/>
            <a:ext cx="4316529" cy="4968188"/>
          </a:xfrm>
          <a:custGeom>
            <a:avLst/>
            <a:gdLst>
              <a:gd name="connsiteX0" fmla="*/ 582111 w 5312651"/>
              <a:gd name="connsiteY0" fmla="*/ 3841915 h 4968188"/>
              <a:gd name="connsiteX1" fmla="*/ 648593 w 5312651"/>
              <a:gd name="connsiteY1" fmla="*/ 4023553 h 4968188"/>
              <a:gd name="connsiteX2" fmla="*/ 1262800 w 5312651"/>
              <a:gd name="connsiteY2" fmla="*/ 4889167 h 4968188"/>
              <a:gd name="connsiteX3" fmla="*/ 1356258 w 5312651"/>
              <a:gd name="connsiteY3" fmla="*/ 4968188 h 4968188"/>
              <a:gd name="connsiteX4" fmla="*/ 523338 w 5312651"/>
              <a:gd name="connsiteY4" fmla="*/ 4968188 h 4968188"/>
              <a:gd name="connsiteX5" fmla="*/ 422762 w 5312651"/>
              <a:gd name="connsiteY5" fmla="*/ 4837000 h 4968188"/>
              <a:gd name="connsiteX6" fmla="*/ 98303 w 5312651"/>
              <a:gd name="connsiteY6" fmla="*/ 4256021 h 4968188"/>
              <a:gd name="connsiteX7" fmla="*/ 0 w 5312651"/>
              <a:gd name="connsiteY7" fmla="*/ 3987442 h 4968188"/>
              <a:gd name="connsiteX8" fmla="*/ 5312651 w 5312651"/>
              <a:gd name="connsiteY8" fmla="*/ 3656541 h 4968188"/>
              <a:gd name="connsiteX9" fmla="*/ 5312651 w 5312651"/>
              <a:gd name="connsiteY9" fmla="*/ 4968188 h 4968188"/>
              <a:gd name="connsiteX10" fmla="*/ 4487903 w 5312651"/>
              <a:gd name="connsiteY10" fmla="*/ 4968188 h 4968188"/>
              <a:gd name="connsiteX11" fmla="*/ 4489913 w 5312651"/>
              <a:gd name="connsiteY11" fmla="*/ 4966685 h 4968188"/>
              <a:gd name="connsiteX12" fmla="*/ 5276546 w 5312651"/>
              <a:gd name="connsiteY12" fmla="*/ 3796959 h 4968188"/>
              <a:gd name="connsiteX13" fmla="*/ 5312651 w 5312651"/>
              <a:gd name="connsiteY13" fmla="*/ 1921770 h 4968188"/>
              <a:gd name="connsiteX14" fmla="*/ 5312651 w 5312651"/>
              <a:gd name="connsiteY14" fmla="*/ 2470557 h 4968188"/>
              <a:gd name="connsiteX15" fmla="*/ 5276546 w 5312651"/>
              <a:gd name="connsiteY15" fmla="*/ 2330138 h 4968188"/>
              <a:gd name="connsiteX16" fmla="*/ 5193611 w 5312651"/>
              <a:gd name="connsiteY16" fmla="*/ 2103543 h 4968188"/>
              <a:gd name="connsiteX17" fmla="*/ 5141529 w 5312651"/>
              <a:gd name="connsiteY17" fmla="*/ 1995431 h 4968188"/>
              <a:gd name="connsiteX18" fmla="*/ 2921101 w 5312651"/>
              <a:gd name="connsiteY18" fmla="*/ 1293983 h 4968188"/>
              <a:gd name="connsiteX19" fmla="*/ 4690668 w 5312651"/>
              <a:gd name="connsiteY19" fmla="*/ 3063550 h 4968188"/>
              <a:gd name="connsiteX20" fmla="*/ 2921101 w 5312651"/>
              <a:gd name="connsiteY20" fmla="*/ 4833116 h 4968188"/>
              <a:gd name="connsiteX21" fmla="*/ 1151535 w 5312651"/>
              <a:gd name="connsiteY21" fmla="*/ 3063550 h 4968188"/>
              <a:gd name="connsiteX22" fmla="*/ 2921101 w 5312651"/>
              <a:gd name="connsiteY22" fmla="*/ 1293983 h 4968188"/>
              <a:gd name="connsiteX23" fmla="*/ 2200136 w 5312651"/>
              <a:gd name="connsiteY23" fmla="*/ 915340 h 4968188"/>
              <a:gd name="connsiteX24" fmla="*/ 2323531 w 5312651"/>
              <a:gd name="connsiteY24" fmla="*/ 1293760 h 4968188"/>
              <a:gd name="connsiteX25" fmla="*/ 2193564 w 5312651"/>
              <a:gd name="connsiteY25" fmla="*/ 1341329 h 4968188"/>
              <a:gd name="connsiteX26" fmla="*/ 1051998 w 5312651"/>
              <a:gd name="connsiteY26" fmla="*/ 3063550 h 4968188"/>
              <a:gd name="connsiteX27" fmla="*/ 2921101 w 5312651"/>
              <a:gd name="connsiteY27" fmla="*/ 4932654 h 4968188"/>
              <a:gd name="connsiteX28" fmla="*/ 3476917 w 5312651"/>
              <a:gd name="connsiteY28" fmla="*/ 4848622 h 4968188"/>
              <a:gd name="connsiteX29" fmla="*/ 3645349 w 5312651"/>
              <a:gd name="connsiteY29" fmla="*/ 4786975 h 4968188"/>
              <a:gd name="connsiteX30" fmla="*/ 3728087 w 5312651"/>
              <a:gd name="connsiteY30" fmla="*/ 4968188 h 4968188"/>
              <a:gd name="connsiteX31" fmla="*/ 1693948 w 5312651"/>
              <a:gd name="connsiteY31" fmla="*/ 4968188 h 4968188"/>
              <a:gd name="connsiteX32" fmla="*/ 1653460 w 5312651"/>
              <a:gd name="connsiteY32" fmla="*/ 4943591 h 4968188"/>
              <a:gd name="connsiteX33" fmla="*/ 653850 w 5312651"/>
              <a:gd name="connsiteY33" fmla="*/ 3063550 h 4968188"/>
              <a:gd name="connsiteX34" fmla="*/ 2038586 w 5312651"/>
              <a:gd name="connsiteY34" fmla="*/ 974471 h 4968188"/>
              <a:gd name="connsiteX35" fmla="*/ 3350105 w 5312651"/>
              <a:gd name="connsiteY35" fmla="*/ 838097 h 4968188"/>
              <a:gd name="connsiteX36" fmla="*/ 3378032 w 5312651"/>
              <a:gd name="connsiteY36" fmla="*/ 842360 h 4968188"/>
              <a:gd name="connsiteX37" fmla="*/ 5188355 w 5312651"/>
              <a:gd name="connsiteY37" fmla="*/ 3063550 h 4968188"/>
              <a:gd name="connsiteX38" fmla="*/ 4801144 w 5312651"/>
              <a:gd name="connsiteY38" fmla="*/ 4331192 h 4968188"/>
              <a:gd name="connsiteX39" fmla="*/ 4765077 w 5312651"/>
              <a:gd name="connsiteY39" fmla="*/ 4379423 h 4968188"/>
              <a:gd name="connsiteX40" fmla="*/ 4449056 w 5312651"/>
              <a:gd name="connsiteY40" fmla="*/ 4137919 h 4968188"/>
              <a:gd name="connsiteX41" fmla="*/ 4470993 w 5312651"/>
              <a:gd name="connsiteY41" fmla="*/ 4108585 h 4968188"/>
              <a:gd name="connsiteX42" fmla="*/ 4790206 w 5312651"/>
              <a:gd name="connsiteY42" fmla="*/ 3063550 h 4968188"/>
              <a:gd name="connsiteX43" fmla="*/ 3297793 w 5312651"/>
              <a:gd name="connsiteY43" fmla="*/ 1232419 h 4968188"/>
              <a:gd name="connsiteX44" fmla="*/ 3280943 w 5312651"/>
              <a:gd name="connsiteY44" fmla="*/ 1229848 h 4968188"/>
              <a:gd name="connsiteX45" fmla="*/ 2921101 w 5312651"/>
              <a:gd name="connsiteY45" fmla="*/ 0 h 4968188"/>
              <a:gd name="connsiteX46" fmla="*/ 4633962 w 5312651"/>
              <a:gd name="connsiteY46" fmla="*/ 523207 h 4968188"/>
              <a:gd name="connsiteX47" fmla="*/ 4843473 w 5312651"/>
              <a:gd name="connsiteY47" fmla="*/ 679877 h 4968188"/>
              <a:gd name="connsiteX48" fmla="*/ 4470785 w 5312651"/>
              <a:gd name="connsiteY48" fmla="*/ 1146109 h 4968188"/>
              <a:gd name="connsiteX49" fmla="*/ 4300046 w 5312651"/>
              <a:gd name="connsiteY49" fmla="*/ 1018433 h 4968188"/>
              <a:gd name="connsiteX50" fmla="*/ 2921101 w 5312651"/>
              <a:gd name="connsiteY50" fmla="*/ 597223 h 4968188"/>
              <a:gd name="connsiteX51" fmla="*/ 648593 w 5312651"/>
              <a:gd name="connsiteY51" fmla="*/ 2103543 h 4968188"/>
              <a:gd name="connsiteX52" fmla="*/ 582110 w 5312651"/>
              <a:gd name="connsiteY52" fmla="*/ 2285184 h 4968188"/>
              <a:gd name="connsiteX53" fmla="*/ 0 w 5312651"/>
              <a:gd name="connsiteY53" fmla="*/ 2139658 h 4968188"/>
              <a:gd name="connsiteX54" fmla="*/ 98303 w 5312651"/>
              <a:gd name="connsiteY54" fmla="*/ 1871079 h 4968188"/>
              <a:gd name="connsiteX55" fmla="*/ 2921101 w 5312651"/>
              <a:gd name="connsiteY55" fmla="*/ 0 h 4968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5312651" h="4968188">
                <a:moveTo>
                  <a:pt x="582111" y="3841915"/>
                </a:moveTo>
                <a:lnTo>
                  <a:pt x="648593" y="4023553"/>
                </a:lnTo>
                <a:cubicBezTo>
                  <a:pt x="788996" y="4355504"/>
                  <a:pt x="1000007" y="4650318"/>
                  <a:pt x="1262800" y="4889167"/>
                </a:cubicBezTo>
                <a:lnTo>
                  <a:pt x="1356258" y="4968188"/>
                </a:lnTo>
                <a:lnTo>
                  <a:pt x="523338" y="4968188"/>
                </a:lnTo>
                <a:lnTo>
                  <a:pt x="422762" y="4837000"/>
                </a:lnTo>
                <a:cubicBezTo>
                  <a:pt x="294631" y="4656822"/>
                  <a:pt x="185504" y="4462187"/>
                  <a:pt x="98303" y="4256021"/>
                </a:cubicBezTo>
                <a:lnTo>
                  <a:pt x="0" y="3987442"/>
                </a:lnTo>
                <a:close/>
                <a:moveTo>
                  <a:pt x="5312651" y="3656541"/>
                </a:moveTo>
                <a:lnTo>
                  <a:pt x="5312651" y="4968188"/>
                </a:lnTo>
                <a:lnTo>
                  <a:pt x="4487903" y="4968188"/>
                </a:lnTo>
                <a:lnTo>
                  <a:pt x="4489913" y="4966685"/>
                </a:lnTo>
                <a:cubicBezTo>
                  <a:pt x="4855336" y="4665112"/>
                  <a:pt x="5132423" y="4260327"/>
                  <a:pt x="5276546" y="3796959"/>
                </a:cubicBezTo>
                <a:close/>
                <a:moveTo>
                  <a:pt x="5312651" y="1921770"/>
                </a:moveTo>
                <a:lnTo>
                  <a:pt x="5312651" y="2470557"/>
                </a:lnTo>
                <a:lnTo>
                  <a:pt x="5276546" y="2330138"/>
                </a:lnTo>
                <a:cubicBezTo>
                  <a:pt x="5252525" y="2252910"/>
                  <a:pt x="5224812" y="2177310"/>
                  <a:pt x="5193611" y="2103543"/>
                </a:cubicBezTo>
                <a:lnTo>
                  <a:pt x="5141529" y="1995431"/>
                </a:lnTo>
                <a:close/>
                <a:moveTo>
                  <a:pt x="2921101" y="1293983"/>
                </a:moveTo>
                <a:cubicBezTo>
                  <a:pt x="3898407" y="1293983"/>
                  <a:pt x="4690668" y="2086244"/>
                  <a:pt x="4690668" y="3063550"/>
                </a:cubicBezTo>
                <a:cubicBezTo>
                  <a:pt x="4690668" y="4040855"/>
                  <a:pt x="3898407" y="4833116"/>
                  <a:pt x="2921101" y="4833116"/>
                </a:cubicBezTo>
                <a:cubicBezTo>
                  <a:pt x="1943798" y="4833116"/>
                  <a:pt x="1151535" y="4040855"/>
                  <a:pt x="1151535" y="3063550"/>
                </a:cubicBezTo>
                <a:cubicBezTo>
                  <a:pt x="1151535" y="2086244"/>
                  <a:pt x="1943798" y="1293983"/>
                  <a:pt x="2921101" y="1293983"/>
                </a:cubicBezTo>
                <a:close/>
                <a:moveTo>
                  <a:pt x="2200136" y="915340"/>
                </a:moveTo>
                <a:lnTo>
                  <a:pt x="2323531" y="1293760"/>
                </a:lnTo>
                <a:lnTo>
                  <a:pt x="2193564" y="1341329"/>
                </a:lnTo>
                <a:cubicBezTo>
                  <a:pt x="1522713" y="1625076"/>
                  <a:pt x="1051998" y="2289341"/>
                  <a:pt x="1051998" y="3063550"/>
                </a:cubicBezTo>
                <a:cubicBezTo>
                  <a:pt x="1051998" y="4095827"/>
                  <a:pt x="1888825" y="4932654"/>
                  <a:pt x="2921101" y="4932654"/>
                </a:cubicBezTo>
                <a:cubicBezTo>
                  <a:pt x="3114655" y="4932654"/>
                  <a:pt x="3301335" y="4903235"/>
                  <a:pt x="3476917" y="4848622"/>
                </a:cubicBezTo>
                <a:lnTo>
                  <a:pt x="3645349" y="4786975"/>
                </a:lnTo>
                <a:lnTo>
                  <a:pt x="3728087" y="4968188"/>
                </a:lnTo>
                <a:lnTo>
                  <a:pt x="1693948" y="4968188"/>
                </a:lnTo>
                <a:lnTo>
                  <a:pt x="1653460" y="4943591"/>
                </a:lnTo>
                <a:cubicBezTo>
                  <a:pt x="1050368" y="4536150"/>
                  <a:pt x="653850" y="3846155"/>
                  <a:pt x="653850" y="3063550"/>
                </a:cubicBezTo>
                <a:cubicBezTo>
                  <a:pt x="653850" y="2124424"/>
                  <a:pt x="1224835" y="1318657"/>
                  <a:pt x="2038586" y="974471"/>
                </a:cubicBezTo>
                <a:close/>
                <a:moveTo>
                  <a:pt x="3350105" y="838097"/>
                </a:moveTo>
                <a:lnTo>
                  <a:pt x="3378032" y="842360"/>
                </a:lnTo>
                <a:cubicBezTo>
                  <a:pt x="4411181" y="1053774"/>
                  <a:pt x="5188355" y="1967902"/>
                  <a:pt x="5188355" y="3063550"/>
                </a:cubicBezTo>
                <a:cubicBezTo>
                  <a:pt x="5188355" y="3533114"/>
                  <a:pt x="5045609" y="3969336"/>
                  <a:pt x="4801144" y="4331192"/>
                </a:cubicBezTo>
                <a:lnTo>
                  <a:pt x="4765077" y="4379423"/>
                </a:lnTo>
                <a:lnTo>
                  <a:pt x="4449056" y="4137919"/>
                </a:lnTo>
                <a:lnTo>
                  <a:pt x="4470993" y="4108585"/>
                </a:lnTo>
                <a:cubicBezTo>
                  <a:pt x="4672529" y="3810273"/>
                  <a:pt x="4790206" y="3450655"/>
                  <a:pt x="4790206" y="3063550"/>
                </a:cubicBezTo>
                <a:cubicBezTo>
                  <a:pt x="4790206" y="2160308"/>
                  <a:pt x="4149510" y="1406705"/>
                  <a:pt x="3297793" y="1232419"/>
                </a:cubicBezTo>
                <a:lnTo>
                  <a:pt x="3280943" y="1229848"/>
                </a:lnTo>
                <a:close/>
                <a:moveTo>
                  <a:pt x="2921101" y="0"/>
                </a:moveTo>
                <a:cubicBezTo>
                  <a:pt x="3555585" y="0"/>
                  <a:pt x="4145017" y="192881"/>
                  <a:pt x="4633962" y="523207"/>
                </a:cubicBezTo>
                <a:lnTo>
                  <a:pt x="4843473" y="679877"/>
                </a:lnTo>
                <a:lnTo>
                  <a:pt x="4470785" y="1146109"/>
                </a:lnTo>
                <a:lnTo>
                  <a:pt x="4300046" y="1018433"/>
                </a:lnTo>
                <a:cubicBezTo>
                  <a:pt x="3906419" y="752502"/>
                  <a:pt x="3431893" y="597223"/>
                  <a:pt x="2921101" y="597223"/>
                </a:cubicBezTo>
                <a:cubicBezTo>
                  <a:pt x="1899516" y="597223"/>
                  <a:pt x="1023000" y="1218342"/>
                  <a:pt x="648593" y="2103543"/>
                </a:cubicBezTo>
                <a:lnTo>
                  <a:pt x="582110" y="2285184"/>
                </a:lnTo>
                <a:lnTo>
                  <a:pt x="0" y="2139658"/>
                </a:lnTo>
                <a:lnTo>
                  <a:pt x="98303" y="1871079"/>
                </a:lnTo>
                <a:cubicBezTo>
                  <a:pt x="563374" y="771525"/>
                  <a:pt x="1652140" y="0"/>
                  <a:pt x="2921101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975" b="0" i="0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11" name="Freihandform 19">
            <a:extLst>
              <a:ext uri="{FF2B5EF4-FFF2-40B4-BE49-F238E27FC236}">
                <a16:creationId xmlns:a16="http://schemas.microsoft.com/office/drawing/2014/main" id="{49DF8548-ED5C-4FEA-800D-394A50FD5796}"/>
              </a:ext>
            </a:extLst>
          </p:cNvPr>
          <p:cNvSpPr/>
          <p:nvPr/>
        </p:nvSpPr>
        <p:spPr>
          <a:xfrm rot="3265384">
            <a:off x="5937064" y="969029"/>
            <a:ext cx="612188" cy="1608978"/>
          </a:xfrm>
          <a:custGeom>
            <a:avLst/>
            <a:gdLst>
              <a:gd name="connsiteX0" fmla="*/ 18957 w 612188"/>
              <a:gd name="connsiteY0" fmla="*/ 552988 h 1980281"/>
              <a:gd name="connsiteX1" fmla="*/ 414521 w 612188"/>
              <a:gd name="connsiteY1" fmla="*/ 0 h 1980281"/>
              <a:gd name="connsiteX2" fmla="*/ 612188 w 612188"/>
              <a:gd name="connsiteY2" fmla="*/ 64088 h 1980281"/>
              <a:gd name="connsiteX3" fmla="*/ 597290 w 612188"/>
              <a:gd name="connsiteY3" fmla="*/ 116877 h 1980281"/>
              <a:gd name="connsiteX4" fmla="*/ 500780 w 612188"/>
              <a:gd name="connsiteY4" fmla="*/ 944746 h 1980281"/>
              <a:gd name="connsiteX5" fmla="*/ 597290 w 612188"/>
              <a:gd name="connsiteY5" fmla="*/ 1772616 h 1980281"/>
              <a:gd name="connsiteX6" fmla="*/ 611235 w 612188"/>
              <a:gd name="connsiteY6" fmla="*/ 1822027 h 1980281"/>
              <a:gd name="connsiteX7" fmla="*/ 123127 w 612188"/>
              <a:gd name="connsiteY7" fmla="*/ 1980281 h 1980281"/>
              <a:gd name="connsiteX8" fmla="*/ 119024 w 612188"/>
              <a:gd name="connsiteY8" fmla="*/ 1965742 h 1980281"/>
              <a:gd name="connsiteX9" fmla="*/ 0 w 612188"/>
              <a:gd name="connsiteY9" fmla="*/ 944746 h 1980281"/>
              <a:gd name="connsiteX10" fmla="*/ 7720 w 612188"/>
              <a:gd name="connsiteY10" fmla="*/ 680577 h 198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12188" h="1980281">
                <a:moveTo>
                  <a:pt x="18957" y="552988"/>
                </a:moveTo>
                <a:lnTo>
                  <a:pt x="414521" y="0"/>
                </a:lnTo>
                <a:lnTo>
                  <a:pt x="612188" y="64088"/>
                </a:lnTo>
                <a:lnTo>
                  <a:pt x="597290" y="116877"/>
                </a:lnTo>
                <a:cubicBezTo>
                  <a:pt x="534569" y="378400"/>
                  <a:pt x="500780" y="656455"/>
                  <a:pt x="500780" y="944746"/>
                </a:cubicBezTo>
                <a:cubicBezTo>
                  <a:pt x="500780" y="1233037"/>
                  <a:pt x="534569" y="1511091"/>
                  <a:pt x="597290" y="1772616"/>
                </a:cubicBezTo>
                <a:lnTo>
                  <a:pt x="611235" y="1822027"/>
                </a:lnTo>
                <a:lnTo>
                  <a:pt x="123127" y="1980281"/>
                </a:lnTo>
                <a:lnTo>
                  <a:pt x="119024" y="1965742"/>
                </a:lnTo>
                <a:cubicBezTo>
                  <a:pt x="41671" y="1643210"/>
                  <a:pt x="0" y="1300290"/>
                  <a:pt x="0" y="944746"/>
                </a:cubicBezTo>
                <a:cubicBezTo>
                  <a:pt x="0" y="855861"/>
                  <a:pt x="2604" y="767764"/>
                  <a:pt x="7720" y="680577"/>
                </a:cubicBezTo>
                <a:close/>
              </a:path>
            </a:pathLst>
          </a:custGeom>
          <a:solidFill>
            <a:srgbClr val="D9D9D9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138" b="1" i="0" dirty="0">
              <a:latin typeface="Calibri" panose="020F0502020204030204" pitchFamily="34" charset="0"/>
            </a:endParaRP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7AFEEF9-3EF2-412F-A8AA-D0D065C5C681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A3F1AD-A7E6-4E28-9B10-7DF2432B3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6CDBD5D-ABCA-4F70-A457-E2D43BE4AF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E8CBF12-7278-487D-A296-46A074DC9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Inhaltsplatzhalter 8">
            <a:extLst>
              <a:ext uri="{FF2B5EF4-FFF2-40B4-BE49-F238E27FC236}">
                <a16:creationId xmlns:a16="http://schemas.microsoft.com/office/drawing/2014/main" id="{562C61DF-B866-4176-A880-CBBFE6D63D6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83618" y="1847675"/>
            <a:ext cx="4269383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7604349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ndes Bild links, Text rechts">
    <p:bg bwMode="lt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8">
            <a:extLst>
              <a:ext uri="{FF2B5EF4-FFF2-40B4-BE49-F238E27FC236}">
                <a16:creationId xmlns:a16="http://schemas.microsoft.com/office/drawing/2014/main" id="{9B24A04B-F6D6-49DD-8A49-C40DD0FD3377}"/>
              </a:ext>
            </a:extLst>
          </p:cNvPr>
          <p:cNvSpPr/>
          <p:nvPr/>
        </p:nvSpPr>
        <p:spPr bwMode="ltGray">
          <a:xfrm>
            <a:off x="2027675" y="548680"/>
            <a:ext cx="2638423" cy="3247290"/>
          </a:xfrm>
          <a:prstGeom prst="ellipse">
            <a:avLst/>
          </a:prstGeom>
          <a:solidFill>
            <a:srgbClr val="BFBFBF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CA579987-C859-48E3-BB9A-1B34F52344B6}"/>
              </a:ext>
            </a:extLst>
          </p:cNvPr>
          <p:cNvSpPr/>
          <p:nvPr/>
        </p:nvSpPr>
        <p:spPr>
          <a:xfrm>
            <a:off x="-14624" y="1301300"/>
            <a:ext cx="4792106" cy="5574701"/>
          </a:xfrm>
          <a:custGeom>
            <a:avLst/>
            <a:gdLst>
              <a:gd name="connsiteX0" fmla="*/ 2133825 w 5897976"/>
              <a:gd name="connsiteY0" fmla="*/ 0 h 5574701"/>
              <a:gd name="connsiteX1" fmla="*/ 5897976 w 5897976"/>
              <a:gd name="connsiteY1" fmla="*/ 3764151 h 5574701"/>
              <a:gd name="connsiteX2" fmla="*/ 5443664 w 5897976"/>
              <a:gd name="connsiteY2" fmla="*/ 5558369 h 5574701"/>
              <a:gd name="connsiteX3" fmla="*/ 5433742 w 5897976"/>
              <a:gd name="connsiteY3" fmla="*/ 5574701 h 5574701"/>
              <a:gd name="connsiteX4" fmla="*/ 0 w 5897976"/>
              <a:gd name="connsiteY4" fmla="*/ 5574701 h 5574701"/>
              <a:gd name="connsiteX5" fmla="*/ 0 w 5897976"/>
              <a:gd name="connsiteY5" fmla="*/ 664733 h 5574701"/>
              <a:gd name="connsiteX6" fmla="*/ 29253 w 5897976"/>
              <a:gd name="connsiteY6" fmla="*/ 642858 h 5574701"/>
              <a:gd name="connsiteX7" fmla="*/ 2133825 w 5897976"/>
              <a:gd name="connsiteY7" fmla="*/ 0 h 55747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7976" h="5574701">
                <a:moveTo>
                  <a:pt x="2133825" y="0"/>
                </a:moveTo>
                <a:cubicBezTo>
                  <a:pt x="4212708" y="0"/>
                  <a:pt x="5897976" y="1685268"/>
                  <a:pt x="5897976" y="3764151"/>
                </a:cubicBezTo>
                <a:cubicBezTo>
                  <a:pt x="5897976" y="4413802"/>
                  <a:pt x="5733399" y="5025014"/>
                  <a:pt x="5443664" y="5558369"/>
                </a:cubicBezTo>
                <a:lnTo>
                  <a:pt x="5433742" y="5574701"/>
                </a:lnTo>
                <a:lnTo>
                  <a:pt x="0" y="5574701"/>
                </a:lnTo>
                <a:lnTo>
                  <a:pt x="0" y="664733"/>
                </a:lnTo>
                <a:lnTo>
                  <a:pt x="29253" y="642858"/>
                </a:lnTo>
                <a:cubicBezTo>
                  <a:pt x="630015" y="236991"/>
                  <a:pt x="1354244" y="0"/>
                  <a:pt x="2133825" y="0"/>
                </a:cubicBez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9" name="Oval 10">
            <a:extLst>
              <a:ext uri="{FF2B5EF4-FFF2-40B4-BE49-F238E27FC236}">
                <a16:creationId xmlns:a16="http://schemas.microsoft.com/office/drawing/2014/main" id="{0C45E8C1-8900-4607-B0A4-98A4DA76E926}"/>
              </a:ext>
            </a:extLst>
          </p:cNvPr>
          <p:cNvSpPr/>
          <p:nvPr/>
        </p:nvSpPr>
        <p:spPr bwMode="ltGray">
          <a:xfrm>
            <a:off x="3678028" y="217085"/>
            <a:ext cx="929963" cy="1144570"/>
          </a:xfrm>
          <a:prstGeom prst="ellipse">
            <a:avLst/>
          </a:prstGeom>
          <a:solidFill>
            <a:srgbClr val="BFBFBF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0" name="Oval 11">
            <a:extLst>
              <a:ext uri="{FF2B5EF4-FFF2-40B4-BE49-F238E27FC236}">
                <a16:creationId xmlns:a16="http://schemas.microsoft.com/office/drawing/2014/main" id="{78D8CC27-3859-4C33-9901-588E71DA1182}"/>
              </a:ext>
            </a:extLst>
          </p:cNvPr>
          <p:cNvSpPr/>
          <p:nvPr/>
        </p:nvSpPr>
        <p:spPr bwMode="ltGray">
          <a:xfrm>
            <a:off x="341971" y="565122"/>
            <a:ext cx="340055" cy="418529"/>
          </a:xfrm>
          <a:prstGeom prst="ellipse">
            <a:avLst/>
          </a:prstGeom>
          <a:solidFill>
            <a:srgbClr val="BFBFBF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0" name="Oval 22">
            <a:extLst>
              <a:ext uri="{FF2B5EF4-FFF2-40B4-BE49-F238E27FC236}">
                <a16:creationId xmlns:a16="http://schemas.microsoft.com/office/drawing/2014/main" id="{AD6CDDB1-99B9-450E-929A-9587AD06BCE5}"/>
              </a:ext>
            </a:extLst>
          </p:cNvPr>
          <p:cNvSpPr/>
          <p:nvPr/>
        </p:nvSpPr>
        <p:spPr bwMode="ltGray">
          <a:xfrm>
            <a:off x="616487" y="1443190"/>
            <a:ext cx="131682" cy="16207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+mn-lt"/>
            </a:endParaRPr>
          </a:p>
        </p:txBody>
      </p:sp>
      <p:grpSp>
        <p:nvGrpSpPr>
          <p:cNvPr id="27" name="Group 698">
            <a:extLst>
              <a:ext uri="{FF2B5EF4-FFF2-40B4-BE49-F238E27FC236}">
                <a16:creationId xmlns:a16="http://schemas.microsoft.com/office/drawing/2014/main" id="{60D812A5-4C43-4387-B8CB-7219526FB122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8" name="AutoShape 697">
              <a:extLst>
                <a:ext uri="{FF2B5EF4-FFF2-40B4-BE49-F238E27FC236}">
                  <a16:creationId xmlns:a16="http://schemas.microsoft.com/office/drawing/2014/main" id="{29B84981-6B81-4CD5-B93F-A121C330E3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9" name="Oval 699">
              <a:extLst>
                <a:ext uri="{FF2B5EF4-FFF2-40B4-BE49-F238E27FC236}">
                  <a16:creationId xmlns:a16="http://schemas.microsoft.com/office/drawing/2014/main" id="{11128AC4-1C81-4D4B-8798-7B37C24AF307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700">
              <a:extLst>
                <a:ext uri="{FF2B5EF4-FFF2-40B4-BE49-F238E27FC236}">
                  <a16:creationId xmlns:a16="http://schemas.microsoft.com/office/drawing/2014/main" id="{72B3D720-57F7-4652-A254-00FFF27F3D44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1">
              <a:extLst>
                <a:ext uri="{FF2B5EF4-FFF2-40B4-BE49-F238E27FC236}">
                  <a16:creationId xmlns:a16="http://schemas.microsoft.com/office/drawing/2014/main" id="{6F362FDB-EF02-403C-8027-D321073BBDD9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702">
              <a:extLst>
                <a:ext uri="{FF2B5EF4-FFF2-40B4-BE49-F238E27FC236}">
                  <a16:creationId xmlns:a16="http://schemas.microsoft.com/office/drawing/2014/main" id="{7D4187E6-467B-4EE3-BE59-A72A51CD37B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B01A7716-7F38-4617-880A-F0236038B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1" y="1270000"/>
            <a:ext cx="4270671" cy="1173722"/>
          </a:xfrm>
        </p:spPr>
        <p:txBody>
          <a:bodyPr anchor="b" anchorCtr="0"/>
          <a:lstStyle>
            <a:lvl1pPr>
              <a:defRPr sz="2275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1" name="Inhaltsplatzhalter 8">
            <a:extLst>
              <a:ext uri="{FF2B5EF4-FFF2-40B4-BE49-F238E27FC236}">
                <a16:creationId xmlns:a16="http://schemas.microsoft.com/office/drawing/2014/main" id="{25F1ED80-0381-4FC1-B7D5-F1F6748ABD5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953001" y="2852739"/>
            <a:ext cx="4270671" cy="34559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F4D8EA5D-2487-4E3E-925F-00E6AF9A423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Bildplatzhalter 64">
            <a:extLst>
              <a:ext uri="{FF2B5EF4-FFF2-40B4-BE49-F238E27FC236}">
                <a16:creationId xmlns:a16="http://schemas.microsoft.com/office/drawing/2014/main" id="{07118C7A-C8B9-4C82-B1EE-0F5F4074057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498177"/>
            <a:ext cx="4603853" cy="5359823"/>
          </a:xfrm>
          <a:custGeom>
            <a:avLst/>
            <a:gdLst>
              <a:gd name="connsiteX0" fmla="*/ 2452011 w 6550979"/>
              <a:gd name="connsiteY0" fmla="*/ 6 h 6196672"/>
              <a:gd name="connsiteX1" fmla="*/ 6550977 w 6550979"/>
              <a:gd name="connsiteY1" fmla="*/ 4087013 h 6196672"/>
              <a:gd name="connsiteX2" fmla="*/ 6099184 w 6550979"/>
              <a:gd name="connsiteY2" fmla="*/ 5953760 h 6196672"/>
              <a:gd name="connsiteX3" fmla="*/ 5963306 w 6550979"/>
              <a:gd name="connsiteY3" fmla="*/ 6196672 h 6196672"/>
              <a:gd name="connsiteX4" fmla="*/ 0 w 6550979"/>
              <a:gd name="connsiteY4" fmla="*/ 6196672 h 6196672"/>
              <a:gd name="connsiteX5" fmla="*/ 0 w 6550979"/>
              <a:gd name="connsiteY5" fmla="*/ 810424 h 6196672"/>
              <a:gd name="connsiteX6" fmla="*/ 2452011 w 6550979"/>
              <a:gd name="connsiteY6" fmla="*/ 6 h 6196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50979" h="6196672">
                <a:moveTo>
                  <a:pt x="2452011" y="6"/>
                </a:moveTo>
                <a:cubicBezTo>
                  <a:pt x="4716114" y="6"/>
                  <a:pt x="6550977" y="1830338"/>
                  <a:pt x="6550977" y="4087013"/>
                </a:cubicBezTo>
                <a:cubicBezTo>
                  <a:pt x="6551646" y="4737609"/>
                  <a:pt x="6396131" y="5377511"/>
                  <a:pt x="6099184" y="5953760"/>
                </a:cubicBezTo>
                <a:lnTo>
                  <a:pt x="5963306" y="6196672"/>
                </a:lnTo>
                <a:lnTo>
                  <a:pt x="0" y="6196672"/>
                </a:lnTo>
                <a:lnTo>
                  <a:pt x="0" y="810424"/>
                </a:lnTo>
                <a:cubicBezTo>
                  <a:pt x="707983" y="282901"/>
                  <a:pt x="1568327" y="-1453"/>
                  <a:pt x="2452011" y="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975" b="0" i="0"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16C3D40-2BAE-4E85-A7B0-51C32DE261B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02907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ue Folie, Bild links, Text rechts">
    <p:bg bwMode="invGray"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45912B57-D154-43A9-84EA-F3164877BEE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6826313">
            <a:off x="4678976" y="4808586"/>
            <a:ext cx="8137873" cy="6144118"/>
          </a:xfrm>
          <a:prstGeom prst="rect">
            <a:avLst/>
          </a:prstGeom>
        </p:spPr>
      </p:pic>
      <p:sp>
        <p:nvSpPr>
          <p:cNvPr id="8" name="Freihandform 18">
            <a:extLst>
              <a:ext uri="{FF2B5EF4-FFF2-40B4-BE49-F238E27FC236}">
                <a16:creationId xmlns:a16="http://schemas.microsoft.com/office/drawing/2014/main" id="{0E196AFE-F4F3-4D9E-9B7A-D1BAA599EF17}"/>
              </a:ext>
            </a:extLst>
          </p:cNvPr>
          <p:cNvSpPr/>
          <p:nvPr/>
        </p:nvSpPr>
        <p:spPr bwMode="white">
          <a:xfrm rot="5400000">
            <a:off x="6227326" y="189427"/>
            <a:ext cx="3869020" cy="3474226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157" name="Grafik 29">
            <a:extLst>
              <a:ext uri="{FF2B5EF4-FFF2-40B4-BE49-F238E27FC236}">
                <a16:creationId xmlns:a16="http://schemas.microsoft.com/office/drawing/2014/main" id="{F56581D8-C591-44BF-A436-702A3B5090A5}"/>
              </a:ext>
            </a:extLst>
          </p:cNvPr>
          <p:cNvGrpSpPr/>
          <p:nvPr/>
        </p:nvGrpSpPr>
        <p:grpSpPr>
          <a:xfrm rot="6826313">
            <a:off x="-2399403" y="-249564"/>
            <a:ext cx="6778255" cy="4604637"/>
            <a:chOff x="-2051320" y="105435"/>
            <a:chExt cx="6778255" cy="5667245"/>
          </a:xfrm>
        </p:grpSpPr>
        <p:sp>
          <p:nvSpPr>
            <p:cNvPr id="158" name="Freihandform 307">
              <a:extLst>
                <a:ext uri="{FF2B5EF4-FFF2-40B4-BE49-F238E27FC236}">
                  <a16:creationId xmlns:a16="http://schemas.microsoft.com/office/drawing/2014/main" id="{AC1E3D69-8C12-453B-861B-E7E261A5DBAB}"/>
                </a:ext>
              </a:extLst>
            </p:cNvPr>
            <p:cNvSpPr/>
            <p:nvPr/>
          </p:nvSpPr>
          <p:spPr>
            <a:xfrm>
              <a:off x="-871523" y="3056241"/>
              <a:ext cx="1016614" cy="1604090"/>
            </a:xfrm>
            <a:custGeom>
              <a:avLst/>
              <a:gdLst>
                <a:gd name="connsiteX0" fmla="*/ 0 w 1016614"/>
                <a:gd name="connsiteY0" fmla="*/ 369957 h 1604090"/>
                <a:gd name="connsiteX1" fmla="*/ 2478 w 1016614"/>
                <a:gd name="connsiteY1" fmla="*/ 374205 h 1604090"/>
                <a:gd name="connsiteX2" fmla="*/ 5664 w 1016614"/>
                <a:gd name="connsiteY2" fmla="*/ 372081 h 1604090"/>
                <a:gd name="connsiteX3" fmla="*/ 9203 w 1016614"/>
                <a:gd name="connsiteY3" fmla="*/ 369957 h 1604090"/>
                <a:gd name="connsiteX4" fmla="*/ 12035 w 1016614"/>
                <a:gd name="connsiteY4" fmla="*/ 374205 h 1604090"/>
                <a:gd name="connsiteX5" fmla="*/ 1006350 w 1016614"/>
                <a:gd name="connsiteY5" fmla="*/ 12391 h 1604090"/>
                <a:gd name="connsiteX6" fmla="*/ 765293 w 1016614"/>
                <a:gd name="connsiteY6" fmla="*/ 1581787 h 1604090"/>
                <a:gd name="connsiteX7" fmla="*/ 12035 w 1016614"/>
                <a:gd name="connsiteY7" fmla="*/ 374205 h 1604090"/>
                <a:gd name="connsiteX8" fmla="*/ 7079 w 1016614"/>
                <a:gd name="connsiteY8" fmla="*/ 375621 h 1604090"/>
                <a:gd name="connsiteX9" fmla="*/ 5664 w 1016614"/>
                <a:gd name="connsiteY9" fmla="*/ 372081 h 1604090"/>
                <a:gd name="connsiteX10" fmla="*/ 2478 w 1016614"/>
                <a:gd name="connsiteY10" fmla="*/ 374205 h 1604090"/>
                <a:gd name="connsiteX11" fmla="*/ 769894 w 1016614"/>
                <a:gd name="connsiteY11" fmla="*/ 1604091 h 1604090"/>
                <a:gd name="connsiteX12" fmla="*/ 1016615 w 1016614"/>
                <a:gd name="connsiteY12" fmla="*/ 0 h 1604090"/>
                <a:gd name="connsiteX13" fmla="*/ 0 w 1016614"/>
                <a:gd name="connsiteY13" fmla="*/ 369957 h 1604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16614" h="1604090">
                  <a:moveTo>
                    <a:pt x="0" y="369957"/>
                  </a:moveTo>
                  <a:lnTo>
                    <a:pt x="2478" y="374205"/>
                  </a:lnTo>
                  <a:lnTo>
                    <a:pt x="5664" y="372081"/>
                  </a:lnTo>
                  <a:lnTo>
                    <a:pt x="9203" y="369957"/>
                  </a:lnTo>
                  <a:lnTo>
                    <a:pt x="12035" y="374205"/>
                  </a:lnTo>
                  <a:lnTo>
                    <a:pt x="1006350" y="12391"/>
                  </a:lnTo>
                  <a:lnTo>
                    <a:pt x="765293" y="1581787"/>
                  </a:lnTo>
                  <a:lnTo>
                    <a:pt x="12035" y="374205"/>
                  </a:lnTo>
                  <a:lnTo>
                    <a:pt x="7079" y="375621"/>
                  </a:lnTo>
                  <a:lnTo>
                    <a:pt x="5664" y="372081"/>
                  </a:lnTo>
                  <a:lnTo>
                    <a:pt x="2478" y="374205"/>
                  </a:lnTo>
                  <a:lnTo>
                    <a:pt x="769894" y="1604091"/>
                  </a:lnTo>
                  <a:lnTo>
                    <a:pt x="1016615" y="0"/>
                  </a:lnTo>
                  <a:lnTo>
                    <a:pt x="0" y="369957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59" name="Freihandform 308">
              <a:extLst>
                <a:ext uri="{FF2B5EF4-FFF2-40B4-BE49-F238E27FC236}">
                  <a16:creationId xmlns:a16="http://schemas.microsoft.com/office/drawing/2014/main" id="{CFF9B05D-5FF5-47BA-9762-DD952447F91B}"/>
                </a:ext>
              </a:extLst>
            </p:cNvPr>
            <p:cNvSpPr/>
            <p:nvPr/>
          </p:nvSpPr>
          <p:spPr>
            <a:xfrm>
              <a:off x="-865859" y="3426197"/>
              <a:ext cx="6371" cy="5664"/>
            </a:xfrm>
            <a:custGeom>
              <a:avLst/>
              <a:gdLst>
                <a:gd name="connsiteX0" fmla="*/ 0 w 6371"/>
                <a:gd name="connsiteY0" fmla="*/ 2124 h 5664"/>
                <a:gd name="connsiteX1" fmla="*/ 1416 w 6371"/>
                <a:gd name="connsiteY1" fmla="*/ 5664 h 5664"/>
                <a:gd name="connsiteX2" fmla="*/ 6371 w 6371"/>
                <a:gd name="connsiteY2" fmla="*/ 4248 h 5664"/>
                <a:gd name="connsiteX3" fmla="*/ 3540 w 6371"/>
                <a:gd name="connsiteY3" fmla="*/ 0 h 5664"/>
                <a:gd name="connsiteX4" fmla="*/ 0 w 6371"/>
                <a:gd name="connsiteY4" fmla="*/ 2124 h 5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71" h="5664">
                  <a:moveTo>
                    <a:pt x="0" y="2124"/>
                  </a:moveTo>
                  <a:lnTo>
                    <a:pt x="1416" y="5664"/>
                  </a:lnTo>
                  <a:lnTo>
                    <a:pt x="6371" y="4248"/>
                  </a:lnTo>
                  <a:lnTo>
                    <a:pt x="3540" y="0"/>
                  </a:lnTo>
                  <a:lnTo>
                    <a:pt x="0" y="212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0" name="Freihandform 309">
              <a:extLst>
                <a:ext uri="{FF2B5EF4-FFF2-40B4-BE49-F238E27FC236}">
                  <a16:creationId xmlns:a16="http://schemas.microsoft.com/office/drawing/2014/main" id="{BCAEE4FC-1590-4226-97B6-023C486FBE00}"/>
                </a:ext>
              </a:extLst>
            </p:cNvPr>
            <p:cNvSpPr/>
            <p:nvPr/>
          </p:nvSpPr>
          <p:spPr>
            <a:xfrm>
              <a:off x="-1449918" y="2833204"/>
              <a:ext cx="1001039" cy="601135"/>
            </a:xfrm>
            <a:custGeom>
              <a:avLst/>
              <a:gdLst>
                <a:gd name="connsiteX0" fmla="*/ 584412 w 1001039"/>
                <a:gd name="connsiteY0" fmla="*/ 601136 h 601135"/>
                <a:gd name="connsiteX1" fmla="*/ 587244 w 1001039"/>
                <a:gd name="connsiteY1" fmla="*/ 597595 h 601135"/>
                <a:gd name="connsiteX2" fmla="*/ 584058 w 1001039"/>
                <a:gd name="connsiteY2" fmla="*/ 595117 h 601135"/>
                <a:gd name="connsiteX3" fmla="*/ 581226 w 1001039"/>
                <a:gd name="connsiteY3" fmla="*/ 592639 h 601135"/>
                <a:gd name="connsiteX4" fmla="*/ 584058 w 1001039"/>
                <a:gd name="connsiteY4" fmla="*/ 589099 h 601135"/>
                <a:gd name="connsiteX5" fmla="*/ 20884 w 1001039"/>
                <a:gd name="connsiteY5" fmla="*/ 9912 h 601135"/>
                <a:gd name="connsiteX6" fmla="*/ 985465 w 1001039"/>
                <a:gd name="connsiteY6" fmla="*/ 100189 h 601135"/>
                <a:gd name="connsiteX7" fmla="*/ 584058 w 1001039"/>
                <a:gd name="connsiteY7" fmla="*/ 589099 h 601135"/>
                <a:gd name="connsiteX8" fmla="*/ 587244 w 1001039"/>
                <a:gd name="connsiteY8" fmla="*/ 592285 h 601135"/>
                <a:gd name="connsiteX9" fmla="*/ 584058 w 1001039"/>
                <a:gd name="connsiteY9" fmla="*/ 595117 h 601135"/>
                <a:gd name="connsiteX10" fmla="*/ 587244 w 1001039"/>
                <a:gd name="connsiteY10" fmla="*/ 597595 h 601135"/>
                <a:gd name="connsiteX11" fmla="*/ 1001040 w 1001039"/>
                <a:gd name="connsiteY11" fmla="*/ 93462 h 601135"/>
                <a:gd name="connsiteX12" fmla="*/ 0 w 1001039"/>
                <a:gd name="connsiteY12" fmla="*/ 0 h 601135"/>
                <a:gd name="connsiteX13" fmla="*/ 584412 w 1001039"/>
                <a:gd name="connsiteY13" fmla="*/ 601136 h 601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1039" h="601135">
                  <a:moveTo>
                    <a:pt x="584412" y="601136"/>
                  </a:moveTo>
                  <a:lnTo>
                    <a:pt x="587244" y="597595"/>
                  </a:lnTo>
                  <a:lnTo>
                    <a:pt x="584058" y="595117"/>
                  </a:lnTo>
                  <a:lnTo>
                    <a:pt x="581226" y="592639"/>
                  </a:lnTo>
                  <a:lnTo>
                    <a:pt x="584058" y="589099"/>
                  </a:lnTo>
                  <a:lnTo>
                    <a:pt x="20884" y="9912"/>
                  </a:lnTo>
                  <a:lnTo>
                    <a:pt x="985465" y="100189"/>
                  </a:lnTo>
                  <a:lnTo>
                    <a:pt x="584058" y="589099"/>
                  </a:lnTo>
                  <a:lnTo>
                    <a:pt x="587244" y="592285"/>
                  </a:lnTo>
                  <a:lnTo>
                    <a:pt x="584058" y="595117"/>
                  </a:lnTo>
                  <a:lnTo>
                    <a:pt x="587244" y="597595"/>
                  </a:lnTo>
                  <a:lnTo>
                    <a:pt x="1001040" y="93462"/>
                  </a:lnTo>
                  <a:lnTo>
                    <a:pt x="0" y="0"/>
                  </a:lnTo>
                  <a:lnTo>
                    <a:pt x="584412" y="60113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2" name="Freihandform 310">
              <a:extLst>
                <a:ext uri="{FF2B5EF4-FFF2-40B4-BE49-F238E27FC236}">
                  <a16:creationId xmlns:a16="http://schemas.microsoft.com/office/drawing/2014/main" id="{CB5EE789-CC30-45AB-8DA6-E0010AC763E4}"/>
                </a:ext>
              </a:extLst>
            </p:cNvPr>
            <p:cNvSpPr/>
            <p:nvPr/>
          </p:nvSpPr>
          <p:spPr>
            <a:xfrm>
              <a:off x="-868691" y="3422302"/>
              <a:ext cx="6017" cy="6018"/>
            </a:xfrm>
            <a:custGeom>
              <a:avLst/>
              <a:gdLst>
                <a:gd name="connsiteX0" fmla="*/ 0 w 6017"/>
                <a:gd name="connsiteY0" fmla="*/ 3540 h 6018"/>
                <a:gd name="connsiteX1" fmla="*/ 2832 w 6017"/>
                <a:gd name="connsiteY1" fmla="*/ 6019 h 6018"/>
                <a:gd name="connsiteX2" fmla="*/ 6018 w 6017"/>
                <a:gd name="connsiteY2" fmla="*/ 3186 h 6018"/>
                <a:gd name="connsiteX3" fmla="*/ 2832 w 6017"/>
                <a:gd name="connsiteY3" fmla="*/ 0 h 6018"/>
                <a:gd name="connsiteX4" fmla="*/ 0 w 6017"/>
                <a:gd name="connsiteY4" fmla="*/ 3540 h 6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6018">
                  <a:moveTo>
                    <a:pt x="0" y="3540"/>
                  </a:moveTo>
                  <a:lnTo>
                    <a:pt x="2832" y="6019"/>
                  </a:lnTo>
                  <a:lnTo>
                    <a:pt x="6018" y="3186"/>
                  </a:lnTo>
                  <a:lnTo>
                    <a:pt x="2832" y="0"/>
                  </a:lnTo>
                  <a:lnTo>
                    <a:pt x="0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3" name="Freihandform 311">
              <a:extLst>
                <a:ext uri="{FF2B5EF4-FFF2-40B4-BE49-F238E27FC236}">
                  <a16:creationId xmlns:a16="http://schemas.microsoft.com/office/drawing/2014/main" id="{C5EA391D-2539-4EE0-9904-5BBB27B5CEA3}"/>
                </a:ext>
              </a:extLst>
            </p:cNvPr>
            <p:cNvSpPr/>
            <p:nvPr/>
          </p:nvSpPr>
          <p:spPr>
            <a:xfrm>
              <a:off x="-331358" y="2200913"/>
              <a:ext cx="6371" cy="7434"/>
            </a:xfrm>
            <a:custGeom>
              <a:avLst/>
              <a:gdLst>
                <a:gd name="connsiteX0" fmla="*/ 2478 w 6371"/>
                <a:gd name="connsiteY0" fmla="*/ 0 h 7434"/>
                <a:gd name="connsiteX1" fmla="*/ 0 w 6371"/>
                <a:gd name="connsiteY1" fmla="*/ 3186 h 7434"/>
                <a:gd name="connsiteX2" fmla="*/ 5310 w 6371"/>
                <a:gd name="connsiteY2" fmla="*/ 7434 h 7434"/>
                <a:gd name="connsiteX3" fmla="*/ 6371 w 6371"/>
                <a:gd name="connsiteY3" fmla="*/ 708 h 7434"/>
                <a:gd name="connsiteX4" fmla="*/ 2478 w 6371"/>
                <a:gd name="connsiteY4" fmla="*/ 0 h 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71" h="7434">
                  <a:moveTo>
                    <a:pt x="2478" y="0"/>
                  </a:moveTo>
                  <a:lnTo>
                    <a:pt x="0" y="3186"/>
                  </a:lnTo>
                  <a:lnTo>
                    <a:pt x="5310" y="7434"/>
                  </a:lnTo>
                  <a:lnTo>
                    <a:pt x="6371" y="708"/>
                  </a:lnTo>
                  <a:lnTo>
                    <a:pt x="2478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6" name="Freihandform 312">
              <a:extLst>
                <a:ext uri="{FF2B5EF4-FFF2-40B4-BE49-F238E27FC236}">
                  <a16:creationId xmlns:a16="http://schemas.microsoft.com/office/drawing/2014/main" id="{4100A301-B96F-4860-AC3E-5BDB246B4EAE}"/>
                </a:ext>
              </a:extLst>
            </p:cNvPr>
            <p:cNvSpPr/>
            <p:nvPr/>
          </p:nvSpPr>
          <p:spPr>
            <a:xfrm>
              <a:off x="-460560" y="2193833"/>
              <a:ext cx="277161" cy="737789"/>
            </a:xfrm>
            <a:custGeom>
              <a:avLst/>
              <a:gdLst>
                <a:gd name="connsiteX0" fmla="*/ 128847 w 277161"/>
                <a:gd name="connsiteY0" fmla="*/ 0 h 737789"/>
                <a:gd name="connsiteX1" fmla="*/ 127785 w 277161"/>
                <a:gd name="connsiteY1" fmla="*/ 6372 h 737789"/>
                <a:gd name="connsiteX2" fmla="*/ 131679 w 277161"/>
                <a:gd name="connsiteY2" fmla="*/ 7081 h 737789"/>
                <a:gd name="connsiteX3" fmla="*/ 135572 w 277161"/>
                <a:gd name="connsiteY3" fmla="*/ 7789 h 737789"/>
                <a:gd name="connsiteX4" fmla="*/ 134510 w 277161"/>
                <a:gd name="connsiteY4" fmla="*/ 14515 h 737789"/>
                <a:gd name="connsiteX5" fmla="*/ 267251 w 277161"/>
                <a:gd name="connsiteY5" fmla="*/ 123909 h 737789"/>
                <a:gd name="connsiteX6" fmla="*/ 13451 w 277161"/>
                <a:gd name="connsiteY6" fmla="*/ 704157 h 737789"/>
                <a:gd name="connsiteX7" fmla="*/ 134510 w 277161"/>
                <a:gd name="connsiteY7" fmla="*/ 14515 h 737789"/>
                <a:gd name="connsiteX8" fmla="*/ 129201 w 277161"/>
                <a:gd name="connsiteY8" fmla="*/ 10267 h 737789"/>
                <a:gd name="connsiteX9" fmla="*/ 131679 w 277161"/>
                <a:gd name="connsiteY9" fmla="*/ 7081 h 737789"/>
                <a:gd name="connsiteX10" fmla="*/ 127785 w 277161"/>
                <a:gd name="connsiteY10" fmla="*/ 6372 h 737789"/>
                <a:gd name="connsiteX11" fmla="*/ 0 w 277161"/>
                <a:gd name="connsiteY11" fmla="*/ 735666 h 737789"/>
                <a:gd name="connsiteX12" fmla="*/ 7433 w 277161"/>
                <a:gd name="connsiteY12" fmla="*/ 737790 h 737789"/>
                <a:gd name="connsiteX13" fmla="*/ 277162 w 277161"/>
                <a:gd name="connsiteY13" fmla="*/ 121431 h 737789"/>
                <a:gd name="connsiteX14" fmla="*/ 128847 w 277161"/>
                <a:gd name="connsiteY14" fmla="*/ 0 h 73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7161" h="737789">
                  <a:moveTo>
                    <a:pt x="128847" y="0"/>
                  </a:moveTo>
                  <a:lnTo>
                    <a:pt x="127785" y="6372"/>
                  </a:lnTo>
                  <a:lnTo>
                    <a:pt x="131679" y="7081"/>
                  </a:lnTo>
                  <a:lnTo>
                    <a:pt x="135572" y="7789"/>
                  </a:lnTo>
                  <a:lnTo>
                    <a:pt x="134510" y="14515"/>
                  </a:lnTo>
                  <a:lnTo>
                    <a:pt x="267251" y="123909"/>
                  </a:lnTo>
                  <a:lnTo>
                    <a:pt x="13451" y="704157"/>
                  </a:lnTo>
                  <a:lnTo>
                    <a:pt x="134510" y="14515"/>
                  </a:lnTo>
                  <a:lnTo>
                    <a:pt x="129201" y="10267"/>
                  </a:lnTo>
                  <a:lnTo>
                    <a:pt x="131679" y="7081"/>
                  </a:lnTo>
                  <a:lnTo>
                    <a:pt x="127785" y="6372"/>
                  </a:lnTo>
                  <a:lnTo>
                    <a:pt x="0" y="735666"/>
                  </a:lnTo>
                  <a:lnTo>
                    <a:pt x="7433" y="737790"/>
                  </a:lnTo>
                  <a:lnTo>
                    <a:pt x="277162" y="121431"/>
                  </a:lnTo>
                  <a:lnTo>
                    <a:pt x="128847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7" name="Freihandform 313">
              <a:extLst>
                <a:ext uri="{FF2B5EF4-FFF2-40B4-BE49-F238E27FC236}">
                  <a16:creationId xmlns:a16="http://schemas.microsoft.com/office/drawing/2014/main" id="{8E0D1E7D-5404-4AF0-B243-9AF0EF069A1A}"/>
                </a:ext>
              </a:extLst>
            </p:cNvPr>
            <p:cNvSpPr/>
            <p:nvPr/>
          </p:nvSpPr>
          <p:spPr>
            <a:xfrm>
              <a:off x="-462329" y="2306414"/>
              <a:ext cx="609189" cy="761509"/>
            </a:xfrm>
            <a:custGeom>
              <a:avLst/>
              <a:gdLst>
                <a:gd name="connsiteX0" fmla="*/ 0 w 609189"/>
                <a:gd name="connsiteY0" fmla="*/ 626626 h 761509"/>
                <a:gd name="connsiteX1" fmla="*/ 4602 w 609189"/>
                <a:gd name="connsiteY1" fmla="*/ 627688 h 761509"/>
                <a:gd name="connsiteX2" fmla="*/ 5310 w 609189"/>
                <a:gd name="connsiteY2" fmla="*/ 623793 h 761509"/>
                <a:gd name="connsiteX3" fmla="*/ 6371 w 609189"/>
                <a:gd name="connsiteY3" fmla="*/ 619545 h 761509"/>
                <a:gd name="connsiteX4" fmla="*/ 10973 w 609189"/>
                <a:gd name="connsiteY4" fmla="*/ 620607 h 761509"/>
                <a:gd name="connsiteX5" fmla="*/ 273976 w 609189"/>
                <a:gd name="connsiteY5" fmla="*/ 19825 h 761509"/>
                <a:gd name="connsiteX6" fmla="*/ 595385 w 609189"/>
                <a:gd name="connsiteY6" fmla="*/ 750535 h 761509"/>
                <a:gd name="connsiteX7" fmla="*/ 10973 w 609189"/>
                <a:gd name="connsiteY7" fmla="*/ 620607 h 761509"/>
                <a:gd name="connsiteX8" fmla="*/ 9203 w 609189"/>
                <a:gd name="connsiteY8" fmla="*/ 625210 h 761509"/>
                <a:gd name="connsiteX9" fmla="*/ 5310 w 609189"/>
                <a:gd name="connsiteY9" fmla="*/ 623793 h 761509"/>
                <a:gd name="connsiteX10" fmla="*/ 4602 w 609189"/>
                <a:gd name="connsiteY10" fmla="*/ 627688 h 761509"/>
                <a:gd name="connsiteX11" fmla="*/ 609190 w 609189"/>
                <a:gd name="connsiteY11" fmla="*/ 761509 h 761509"/>
                <a:gd name="connsiteX12" fmla="*/ 273976 w 609189"/>
                <a:gd name="connsiteY12" fmla="*/ 0 h 761509"/>
                <a:gd name="connsiteX13" fmla="*/ 0 w 609189"/>
                <a:gd name="connsiteY13" fmla="*/ 626626 h 76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9189" h="761509">
                  <a:moveTo>
                    <a:pt x="0" y="626626"/>
                  </a:moveTo>
                  <a:lnTo>
                    <a:pt x="4602" y="627688"/>
                  </a:lnTo>
                  <a:lnTo>
                    <a:pt x="5310" y="623793"/>
                  </a:lnTo>
                  <a:lnTo>
                    <a:pt x="6371" y="619545"/>
                  </a:lnTo>
                  <a:lnTo>
                    <a:pt x="10973" y="620607"/>
                  </a:lnTo>
                  <a:lnTo>
                    <a:pt x="273976" y="19825"/>
                  </a:lnTo>
                  <a:lnTo>
                    <a:pt x="595385" y="750535"/>
                  </a:lnTo>
                  <a:lnTo>
                    <a:pt x="10973" y="620607"/>
                  </a:lnTo>
                  <a:lnTo>
                    <a:pt x="9203" y="625210"/>
                  </a:lnTo>
                  <a:lnTo>
                    <a:pt x="5310" y="623793"/>
                  </a:lnTo>
                  <a:lnTo>
                    <a:pt x="4602" y="627688"/>
                  </a:lnTo>
                  <a:lnTo>
                    <a:pt x="609190" y="761509"/>
                  </a:lnTo>
                  <a:lnTo>
                    <a:pt x="273976" y="0"/>
                  </a:lnTo>
                  <a:lnTo>
                    <a:pt x="0" y="62662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8" name="Freihandform 314">
              <a:extLst>
                <a:ext uri="{FF2B5EF4-FFF2-40B4-BE49-F238E27FC236}">
                  <a16:creationId xmlns:a16="http://schemas.microsoft.com/office/drawing/2014/main" id="{4D42D180-EA75-42A2-823F-8CE6BAB6C253}"/>
                </a:ext>
              </a:extLst>
            </p:cNvPr>
            <p:cNvSpPr/>
            <p:nvPr/>
          </p:nvSpPr>
          <p:spPr>
            <a:xfrm>
              <a:off x="-457019" y="2925958"/>
              <a:ext cx="5663" cy="5664"/>
            </a:xfrm>
            <a:custGeom>
              <a:avLst/>
              <a:gdLst>
                <a:gd name="connsiteX0" fmla="*/ 1062 w 5663"/>
                <a:gd name="connsiteY0" fmla="*/ 0 h 5664"/>
                <a:gd name="connsiteX1" fmla="*/ 0 w 5663"/>
                <a:gd name="connsiteY1" fmla="*/ 4248 h 5664"/>
                <a:gd name="connsiteX2" fmla="*/ 3894 w 5663"/>
                <a:gd name="connsiteY2" fmla="*/ 5664 h 5664"/>
                <a:gd name="connsiteX3" fmla="*/ 5664 w 5663"/>
                <a:gd name="connsiteY3" fmla="*/ 1062 h 5664"/>
                <a:gd name="connsiteX4" fmla="*/ 1062 w 5663"/>
                <a:gd name="connsiteY4" fmla="*/ 0 h 5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63" h="5664">
                  <a:moveTo>
                    <a:pt x="1062" y="0"/>
                  </a:moveTo>
                  <a:lnTo>
                    <a:pt x="0" y="4248"/>
                  </a:lnTo>
                  <a:lnTo>
                    <a:pt x="3894" y="5664"/>
                  </a:lnTo>
                  <a:lnTo>
                    <a:pt x="5664" y="1062"/>
                  </a:lnTo>
                  <a:lnTo>
                    <a:pt x="1062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69" name="Freihandform 315">
              <a:extLst>
                <a:ext uri="{FF2B5EF4-FFF2-40B4-BE49-F238E27FC236}">
                  <a16:creationId xmlns:a16="http://schemas.microsoft.com/office/drawing/2014/main" id="{EB85CAA5-AC4D-441D-9418-3C6CC2F8C3AF}"/>
                </a:ext>
              </a:extLst>
            </p:cNvPr>
            <p:cNvSpPr/>
            <p:nvPr/>
          </p:nvSpPr>
          <p:spPr>
            <a:xfrm>
              <a:off x="-866922" y="3419470"/>
              <a:ext cx="13451" cy="11328"/>
            </a:xfrm>
            <a:custGeom>
              <a:avLst/>
              <a:gdLst>
                <a:gd name="connsiteX0" fmla="*/ 1062 w 13451"/>
                <a:gd name="connsiteY0" fmla="*/ 8851 h 11328"/>
                <a:gd name="connsiteX1" fmla="*/ 4248 w 13451"/>
                <a:gd name="connsiteY1" fmla="*/ 11329 h 11328"/>
                <a:gd name="connsiteX2" fmla="*/ 13451 w 13451"/>
                <a:gd name="connsiteY2" fmla="*/ 0 h 11328"/>
                <a:gd name="connsiteX3" fmla="*/ 0 w 13451"/>
                <a:gd name="connsiteY3" fmla="*/ 4956 h 11328"/>
                <a:gd name="connsiteX4" fmla="*/ 1062 w 13451"/>
                <a:gd name="connsiteY4" fmla="*/ 8851 h 1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51" h="11328">
                  <a:moveTo>
                    <a:pt x="1062" y="8851"/>
                  </a:moveTo>
                  <a:lnTo>
                    <a:pt x="4248" y="11329"/>
                  </a:lnTo>
                  <a:lnTo>
                    <a:pt x="13451" y="0"/>
                  </a:lnTo>
                  <a:lnTo>
                    <a:pt x="0" y="4956"/>
                  </a:lnTo>
                  <a:lnTo>
                    <a:pt x="1062" y="8851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0" name="Freihandform 316">
              <a:extLst>
                <a:ext uri="{FF2B5EF4-FFF2-40B4-BE49-F238E27FC236}">
                  <a16:creationId xmlns:a16="http://schemas.microsoft.com/office/drawing/2014/main" id="{9E230BBF-1829-4D5B-8EFB-88BDC3844239}"/>
                </a:ext>
              </a:extLst>
            </p:cNvPr>
            <p:cNvSpPr/>
            <p:nvPr/>
          </p:nvSpPr>
          <p:spPr>
            <a:xfrm>
              <a:off x="-877896" y="2925604"/>
              <a:ext cx="1031835" cy="511567"/>
            </a:xfrm>
            <a:custGeom>
              <a:avLst/>
              <a:gdLst>
                <a:gd name="connsiteX0" fmla="*/ 0 w 1031835"/>
                <a:gd name="connsiteY0" fmla="*/ 511567 h 511567"/>
                <a:gd name="connsiteX1" fmla="*/ 13451 w 1031835"/>
                <a:gd name="connsiteY1" fmla="*/ 506257 h 511567"/>
                <a:gd name="connsiteX2" fmla="*/ 12035 w 1031835"/>
                <a:gd name="connsiteY2" fmla="*/ 502717 h 511567"/>
                <a:gd name="connsiteX3" fmla="*/ 10973 w 1031835"/>
                <a:gd name="connsiteY3" fmla="*/ 498822 h 511567"/>
                <a:gd name="connsiteX4" fmla="*/ 24424 w 1031835"/>
                <a:gd name="connsiteY4" fmla="*/ 493866 h 511567"/>
                <a:gd name="connsiteX5" fmla="*/ 422646 w 1031835"/>
                <a:gd name="connsiteY5" fmla="*/ 8851 h 511567"/>
                <a:gd name="connsiteX6" fmla="*/ 1003518 w 1031835"/>
                <a:gd name="connsiteY6" fmla="*/ 137716 h 511567"/>
                <a:gd name="connsiteX7" fmla="*/ 24424 w 1031835"/>
                <a:gd name="connsiteY7" fmla="*/ 493866 h 511567"/>
                <a:gd name="connsiteX8" fmla="*/ 15221 w 1031835"/>
                <a:gd name="connsiteY8" fmla="*/ 505195 h 511567"/>
                <a:gd name="connsiteX9" fmla="*/ 12035 w 1031835"/>
                <a:gd name="connsiteY9" fmla="*/ 502717 h 511567"/>
                <a:gd name="connsiteX10" fmla="*/ 13451 w 1031835"/>
                <a:gd name="connsiteY10" fmla="*/ 506257 h 511567"/>
                <a:gd name="connsiteX11" fmla="*/ 1031836 w 1031835"/>
                <a:gd name="connsiteY11" fmla="*/ 135946 h 511567"/>
                <a:gd name="connsiteX12" fmla="*/ 419814 w 1031835"/>
                <a:gd name="connsiteY12" fmla="*/ 0 h 511567"/>
                <a:gd name="connsiteX13" fmla="*/ 0 w 1031835"/>
                <a:gd name="connsiteY13" fmla="*/ 511567 h 511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31835" h="511567">
                  <a:moveTo>
                    <a:pt x="0" y="511567"/>
                  </a:moveTo>
                  <a:lnTo>
                    <a:pt x="13451" y="506257"/>
                  </a:lnTo>
                  <a:lnTo>
                    <a:pt x="12035" y="502717"/>
                  </a:lnTo>
                  <a:lnTo>
                    <a:pt x="10973" y="498822"/>
                  </a:lnTo>
                  <a:lnTo>
                    <a:pt x="24424" y="493866"/>
                  </a:lnTo>
                  <a:lnTo>
                    <a:pt x="422646" y="8851"/>
                  </a:lnTo>
                  <a:lnTo>
                    <a:pt x="1003518" y="137716"/>
                  </a:lnTo>
                  <a:lnTo>
                    <a:pt x="24424" y="493866"/>
                  </a:lnTo>
                  <a:lnTo>
                    <a:pt x="15221" y="505195"/>
                  </a:lnTo>
                  <a:lnTo>
                    <a:pt x="12035" y="502717"/>
                  </a:lnTo>
                  <a:lnTo>
                    <a:pt x="13451" y="506257"/>
                  </a:lnTo>
                  <a:lnTo>
                    <a:pt x="1031836" y="135946"/>
                  </a:lnTo>
                  <a:lnTo>
                    <a:pt x="419814" y="0"/>
                  </a:lnTo>
                  <a:lnTo>
                    <a:pt x="0" y="511567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1" name="Freihandform 317">
              <a:extLst>
                <a:ext uri="{FF2B5EF4-FFF2-40B4-BE49-F238E27FC236}">
                  <a16:creationId xmlns:a16="http://schemas.microsoft.com/office/drawing/2014/main" id="{CB0EFC74-EB8C-4F11-8A0B-37103505F368}"/>
                </a:ext>
              </a:extLst>
            </p:cNvPr>
            <p:cNvSpPr/>
            <p:nvPr/>
          </p:nvSpPr>
          <p:spPr>
            <a:xfrm>
              <a:off x="-1441776" y="2827185"/>
              <a:ext cx="10265" cy="12036"/>
            </a:xfrm>
            <a:custGeom>
              <a:avLst/>
              <a:gdLst>
                <a:gd name="connsiteX0" fmla="*/ 0 w 10265"/>
                <a:gd name="connsiteY0" fmla="*/ 7789 h 12036"/>
                <a:gd name="connsiteX1" fmla="*/ 2478 w 10265"/>
                <a:gd name="connsiteY1" fmla="*/ 10975 h 12036"/>
                <a:gd name="connsiteX2" fmla="*/ 6018 w 10265"/>
                <a:gd name="connsiteY2" fmla="*/ 12037 h 12036"/>
                <a:gd name="connsiteX3" fmla="*/ 10265 w 10265"/>
                <a:gd name="connsiteY3" fmla="*/ 0 h 12036"/>
                <a:gd name="connsiteX4" fmla="*/ 0 w 10265"/>
                <a:gd name="connsiteY4" fmla="*/ 7789 h 12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65" h="12036">
                  <a:moveTo>
                    <a:pt x="0" y="7789"/>
                  </a:moveTo>
                  <a:lnTo>
                    <a:pt x="2478" y="10975"/>
                  </a:lnTo>
                  <a:lnTo>
                    <a:pt x="6018" y="12037"/>
                  </a:lnTo>
                  <a:lnTo>
                    <a:pt x="10265" y="0"/>
                  </a:lnTo>
                  <a:lnTo>
                    <a:pt x="0" y="7789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2" name="Freihandform 318">
              <a:extLst>
                <a:ext uri="{FF2B5EF4-FFF2-40B4-BE49-F238E27FC236}">
                  <a16:creationId xmlns:a16="http://schemas.microsoft.com/office/drawing/2014/main" id="{55FFBC3D-4DC6-4EA1-B1D6-3D88A3C6D107}"/>
                </a:ext>
              </a:extLst>
            </p:cNvPr>
            <p:cNvSpPr/>
            <p:nvPr/>
          </p:nvSpPr>
          <p:spPr>
            <a:xfrm>
              <a:off x="-1439299" y="2834266"/>
              <a:ext cx="10619" cy="7080"/>
            </a:xfrm>
            <a:custGeom>
              <a:avLst/>
              <a:gdLst>
                <a:gd name="connsiteX0" fmla="*/ 0 w 10619"/>
                <a:gd name="connsiteY0" fmla="*/ 3894 h 7080"/>
                <a:gd name="connsiteX1" fmla="*/ 2124 w 10619"/>
                <a:gd name="connsiteY1" fmla="*/ 7081 h 7080"/>
                <a:gd name="connsiteX2" fmla="*/ 10619 w 10619"/>
                <a:gd name="connsiteY2" fmla="*/ 708 h 7080"/>
                <a:gd name="connsiteX3" fmla="*/ 354 w 10619"/>
                <a:gd name="connsiteY3" fmla="*/ 0 h 7080"/>
                <a:gd name="connsiteX4" fmla="*/ 0 w 10619"/>
                <a:gd name="connsiteY4" fmla="*/ 3894 h 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9" h="7080">
                  <a:moveTo>
                    <a:pt x="0" y="3894"/>
                  </a:moveTo>
                  <a:lnTo>
                    <a:pt x="2124" y="7081"/>
                  </a:lnTo>
                  <a:lnTo>
                    <a:pt x="10619" y="708"/>
                  </a:lnTo>
                  <a:lnTo>
                    <a:pt x="354" y="0"/>
                  </a:lnTo>
                  <a:lnTo>
                    <a:pt x="0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3" name="Freihandform 319">
              <a:extLst>
                <a:ext uri="{FF2B5EF4-FFF2-40B4-BE49-F238E27FC236}">
                  <a16:creationId xmlns:a16="http://schemas.microsoft.com/office/drawing/2014/main" id="{6384CC16-1FFD-4801-9927-E40D9BBCD42B}"/>
                </a:ext>
              </a:extLst>
            </p:cNvPr>
            <p:cNvSpPr/>
            <p:nvPr/>
          </p:nvSpPr>
          <p:spPr>
            <a:xfrm>
              <a:off x="-1450271" y="2149580"/>
              <a:ext cx="997854" cy="784875"/>
            </a:xfrm>
            <a:custGeom>
              <a:avLst/>
              <a:gdLst>
                <a:gd name="connsiteX0" fmla="*/ 0 w 997854"/>
                <a:gd name="connsiteY0" fmla="*/ 691412 h 784875"/>
                <a:gd name="connsiteX1" fmla="*/ 10265 w 997854"/>
                <a:gd name="connsiteY1" fmla="*/ 692475 h 784875"/>
                <a:gd name="connsiteX2" fmla="*/ 10973 w 997854"/>
                <a:gd name="connsiteY2" fmla="*/ 688580 h 784875"/>
                <a:gd name="connsiteX3" fmla="*/ 11327 w 997854"/>
                <a:gd name="connsiteY3" fmla="*/ 684686 h 784875"/>
                <a:gd name="connsiteX4" fmla="*/ 21592 w 997854"/>
                <a:gd name="connsiteY4" fmla="*/ 685394 h 784875"/>
                <a:gd name="connsiteX5" fmla="*/ 919272 w 997854"/>
                <a:gd name="connsiteY5" fmla="*/ 14869 h 784875"/>
                <a:gd name="connsiteX6" fmla="*/ 989005 w 997854"/>
                <a:gd name="connsiteY6" fmla="*/ 776025 h 784875"/>
                <a:gd name="connsiteX7" fmla="*/ 21592 w 997854"/>
                <a:gd name="connsiteY7" fmla="*/ 685394 h 784875"/>
                <a:gd name="connsiteX8" fmla="*/ 13097 w 997854"/>
                <a:gd name="connsiteY8" fmla="*/ 691766 h 784875"/>
                <a:gd name="connsiteX9" fmla="*/ 10973 w 997854"/>
                <a:gd name="connsiteY9" fmla="*/ 688580 h 784875"/>
                <a:gd name="connsiteX10" fmla="*/ 10265 w 997854"/>
                <a:gd name="connsiteY10" fmla="*/ 692475 h 784875"/>
                <a:gd name="connsiteX11" fmla="*/ 997854 w 997854"/>
                <a:gd name="connsiteY11" fmla="*/ 784875 h 784875"/>
                <a:gd name="connsiteX12" fmla="*/ 925643 w 997854"/>
                <a:gd name="connsiteY12" fmla="*/ 0 h 784875"/>
                <a:gd name="connsiteX13" fmla="*/ 0 w 997854"/>
                <a:gd name="connsiteY13" fmla="*/ 691412 h 78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7854" h="784875">
                  <a:moveTo>
                    <a:pt x="0" y="691412"/>
                  </a:moveTo>
                  <a:lnTo>
                    <a:pt x="10265" y="692475"/>
                  </a:lnTo>
                  <a:lnTo>
                    <a:pt x="10973" y="688580"/>
                  </a:lnTo>
                  <a:lnTo>
                    <a:pt x="11327" y="684686"/>
                  </a:lnTo>
                  <a:lnTo>
                    <a:pt x="21592" y="685394"/>
                  </a:lnTo>
                  <a:lnTo>
                    <a:pt x="919272" y="14869"/>
                  </a:lnTo>
                  <a:lnTo>
                    <a:pt x="989005" y="776025"/>
                  </a:lnTo>
                  <a:lnTo>
                    <a:pt x="21592" y="685394"/>
                  </a:lnTo>
                  <a:lnTo>
                    <a:pt x="13097" y="691766"/>
                  </a:lnTo>
                  <a:lnTo>
                    <a:pt x="10973" y="688580"/>
                  </a:lnTo>
                  <a:lnTo>
                    <a:pt x="10265" y="692475"/>
                  </a:lnTo>
                  <a:lnTo>
                    <a:pt x="997854" y="784875"/>
                  </a:lnTo>
                  <a:lnTo>
                    <a:pt x="925643" y="0"/>
                  </a:lnTo>
                  <a:lnTo>
                    <a:pt x="0" y="69141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4" name="Freihandform 320">
              <a:extLst>
                <a:ext uri="{FF2B5EF4-FFF2-40B4-BE49-F238E27FC236}">
                  <a16:creationId xmlns:a16="http://schemas.microsoft.com/office/drawing/2014/main" id="{9BC36ED7-1591-42EE-BE57-0CEAEA63E49F}"/>
                </a:ext>
              </a:extLst>
            </p:cNvPr>
            <p:cNvSpPr/>
            <p:nvPr/>
          </p:nvSpPr>
          <p:spPr>
            <a:xfrm>
              <a:off x="-532062" y="2152059"/>
              <a:ext cx="207783" cy="778502"/>
            </a:xfrm>
            <a:custGeom>
              <a:avLst/>
              <a:gdLst>
                <a:gd name="connsiteX0" fmla="*/ 0 w 207783"/>
                <a:gd name="connsiteY0" fmla="*/ 0 h 778502"/>
                <a:gd name="connsiteX1" fmla="*/ 354 w 207783"/>
                <a:gd name="connsiteY1" fmla="*/ 5310 h 778502"/>
                <a:gd name="connsiteX2" fmla="*/ 4248 w 207783"/>
                <a:gd name="connsiteY2" fmla="*/ 4956 h 778502"/>
                <a:gd name="connsiteX3" fmla="*/ 8141 w 207783"/>
                <a:gd name="connsiteY3" fmla="*/ 4602 h 778502"/>
                <a:gd name="connsiteX4" fmla="*/ 8849 w 207783"/>
                <a:gd name="connsiteY4" fmla="*/ 9913 h 778502"/>
                <a:gd name="connsiteX5" fmla="*/ 198580 w 207783"/>
                <a:gd name="connsiteY5" fmla="*/ 52042 h 778502"/>
                <a:gd name="connsiteX6" fmla="*/ 76458 w 207783"/>
                <a:gd name="connsiteY6" fmla="*/ 747702 h 778502"/>
                <a:gd name="connsiteX7" fmla="*/ 8849 w 207783"/>
                <a:gd name="connsiteY7" fmla="*/ 9913 h 778502"/>
                <a:gd name="connsiteX8" fmla="*/ 3540 w 207783"/>
                <a:gd name="connsiteY8" fmla="*/ 8851 h 778502"/>
                <a:gd name="connsiteX9" fmla="*/ 4248 w 207783"/>
                <a:gd name="connsiteY9" fmla="*/ 4956 h 778502"/>
                <a:gd name="connsiteX10" fmla="*/ 354 w 207783"/>
                <a:gd name="connsiteY10" fmla="*/ 5310 h 778502"/>
                <a:gd name="connsiteX11" fmla="*/ 71149 w 207783"/>
                <a:gd name="connsiteY11" fmla="*/ 778503 h 778502"/>
                <a:gd name="connsiteX12" fmla="*/ 78936 w 207783"/>
                <a:gd name="connsiteY12" fmla="*/ 778503 h 778502"/>
                <a:gd name="connsiteX13" fmla="*/ 207783 w 207783"/>
                <a:gd name="connsiteY13" fmla="*/ 46023 h 778502"/>
                <a:gd name="connsiteX14" fmla="*/ 0 w 207783"/>
                <a:gd name="connsiteY14" fmla="*/ 0 h 778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783" h="778502">
                  <a:moveTo>
                    <a:pt x="0" y="0"/>
                  </a:moveTo>
                  <a:lnTo>
                    <a:pt x="354" y="5310"/>
                  </a:lnTo>
                  <a:lnTo>
                    <a:pt x="4248" y="4956"/>
                  </a:lnTo>
                  <a:lnTo>
                    <a:pt x="8141" y="4602"/>
                  </a:lnTo>
                  <a:lnTo>
                    <a:pt x="8849" y="9913"/>
                  </a:lnTo>
                  <a:lnTo>
                    <a:pt x="198580" y="52042"/>
                  </a:lnTo>
                  <a:lnTo>
                    <a:pt x="76458" y="747702"/>
                  </a:lnTo>
                  <a:lnTo>
                    <a:pt x="8849" y="9913"/>
                  </a:lnTo>
                  <a:lnTo>
                    <a:pt x="3540" y="8851"/>
                  </a:lnTo>
                  <a:lnTo>
                    <a:pt x="4248" y="4956"/>
                  </a:lnTo>
                  <a:lnTo>
                    <a:pt x="354" y="5310"/>
                  </a:lnTo>
                  <a:lnTo>
                    <a:pt x="71149" y="778503"/>
                  </a:lnTo>
                  <a:lnTo>
                    <a:pt x="78936" y="778503"/>
                  </a:lnTo>
                  <a:lnTo>
                    <a:pt x="207783" y="460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5" name="Freihandform 321">
              <a:extLst>
                <a:ext uri="{FF2B5EF4-FFF2-40B4-BE49-F238E27FC236}">
                  <a16:creationId xmlns:a16="http://schemas.microsoft.com/office/drawing/2014/main" id="{A24955D5-5147-4C1D-A83E-DDDAB66F0C62}"/>
                </a:ext>
              </a:extLst>
            </p:cNvPr>
            <p:cNvSpPr/>
            <p:nvPr/>
          </p:nvSpPr>
          <p:spPr>
            <a:xfrm>
              <a:off x="-528522" y="2156661"/>
              <a:ext cx="5309" cy="5310"/>
            </a:xfrm>
            <a:custGeom>
              <a:avLst/>
              <a:gdLst>
                <a:gd name="connsiteX0" fmla="*/ 708 w 5309"/>
                <a:gd name="connsiteY0" fmla="*/ 354 h 5310"/>
                <a:gd name="connsiteX1" fmla="*/ 0 w 5309"/>
                <a:gd name="connsiteY1" fmla="*/ 4248 h 5310"/>
                <a:gd name="connsiteX2" fmla="*/ 5310 w 5309"/>
                <a:gd name="connsiteY2" fmla="*/ 5310 h 5310"/>
                <a:gd name="connsiteX3" fmla="*/ 4602 w 5309"/>
                <a:gd name="connsiteY3" fmla="*/ 0 h 5310"/>
                <a:gd name="connsiteX4" fmla="*/ 708 w 5309"/>
                <a:gd name="connsiteY4" fmla="*/ 354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708" y="354"/>
                  </a:moveTo>
                  <a:lnTo>
                    <a:pt x="0" y="4248"/>
                  </a:lnTo>
                  <a:lnTo>
                    <a:pt x="5310" y="5310"/>
                  </a:lnTo>
                  <a:lnTo>
                    <a:pt x="4602" y="0"/>
                  </a:lnTo>
                  <a:lnTo>
                    <a:pt x="708" y="35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7" name="Freihandform 322">
              <a:extLst>
                <a:ext uri="{FF2B5EF4-FFF2-40B4-BE49-F238E27FC236}">
                  <a16:creationId xmlns:a16="http://schemas.microsoft.com/office/drawing/2014/main" id="{ADB0620E-8046-4261-B810-4240BED25B46}"/>
                </a:ext>
              </a:extLst>
            </p:cNvPr>
            <p:cNvSpPr/>
            <p:nvPr/>
          </p:nvSpPr>
          <p:spPr>
            <a:xfrm>
              <a:off x="-1959995" y="105435"/>
              <a:ext cx="1134488" cy="337386"/>
            </a:xfrm>
            <a:custGeom>
              <a:avLst/>
              <a:gdLst>
                <a:gd name="connsiteX0" fmla="*/ 1126347 w 1134488"/>
                <a:gd name="connsiteY0" fmla="*/ 0 h 337386"/>
                <a:gd name="connsiteX1" fmla="*/ 1076082 w 1134488"/>
                <a:gd name="connsiteY1" fmla="*/ 327120 h 337386"/>
                <a:gd name="connsiteX2" fmla="*/ 26902 w 1134488"/>
                <a:gd name="connsiteY2" fmla="*/ 0 h 337386"/>
                <a:gd name="connsiteX3" fmla="*/ 0 w 1134488"/>
                <a:gd name="connsiteY3" fmla="*/ 0 h 337386"/>
                <a:gd name="connsiteX4" fmla="*/ 1082808 w 1134488"/>
                <a:gd name="connsiteY4" fmla="*/ 337387 h 337386"/>
                <a:gd name="connsiteX5" fmla="*/ 1134488 w 1134488"/>
                <a:gd name="connsiteY5" fmla="*/ 0 h 337386"/>
                <a:gd name="connsiteX6" fmla="*/ 1126347 w 1134488"/>
                <a:gd name="connsiteY6" fmla="*/ 0 h 33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4488" h="337386">
                  <a:moveTo>
                    <a:pt x="1126347" y="0"/>
                  </a:moveTo>
                  <a:lnTo>
                    <a:pt x="1076082" y="327120"/>
                  </a:lnTo>
                  <a:lnTo>
                    <a:pt x="26902" y="0"/>
                  </a:lnTo>
                  <a:lnTo>
                    <a:pt x="0" y="0"/>
                  </a:lnTo>
                  <a:lnTo>
                    <a:pt x="1082808" y="337387"/>
                  </a:lnTo>
                  <a:lnTo>
                    <a:pt x="1134488" y="0"/>
                  </a:lnTo>
                  <a:lnTo>
                    <a:pt x="1126347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8" name="Freihandform 323">
              <a:extLst>
                <a:ext uri="{FF2B5EF4-FFF2-40B4-BE49-F238E27FC236}">
                  <a16:creationId xmlns:a16="http://schemas.microsoft.com/office/drawing/2014/main" id="{E59D573B-E75A-4606-B619-C433961FCE2F}"/>
                </a:ext>
              </a:extLst>
            </p:cNvPr>
            <p:cNvSpPr/>
            <p:nvPr/>
          </p:nvSpPr>
          <p:spPr>
            <a:xfrm>
              <a:off x="-880726" y="433972"/>
              <a:ext cx="4601" cy="4602"/>
            </a:xfrm>
            <a:custGeom>
              <a:avLst/>
              <a:gdLst>
                <a:gd name="connsiteX0" fmla="*/ 1416 w 4601"/>
                <a:gd name="connsiteY0" fmla="*/ 0 h 4602"/>
                <a:gd name="connsiteX1" fmla="*/ 0 w 4601"/>
                <a:gd name="connsiteY1" fmla="*/ 3894 h 4602"/>
                <a:gd name="connsiteX2" fmla="*/ 4248 w 4601"/>
                <a:gd name="connsiteY2" fmla="*/ 4602 h 4602"/>
                <a:gd name="connsiteX3" fmla="*/ 4602 w 4601"/>
                <a:gd name="connsiteY3" fmla="*/ 1062 h 4602"/>
                <a:gd name="connsiteX4" fmla="*/ 1416 w 4601"/>
                <a:gd name="connsiteY4" fmla="*/ 0 h 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602">
                  <a:moveTo>
                    <a:pt x="1416" y="0"/>
                  </a:moveTo>
                  <a:lnTo>
                    <a:pt x="0" y="3894"/>
                  </a:lnTo>
                  <a:lnTo>
                    <a:pt x="4248" y="4602"/>
                  </a:lnTo>
                  <a:lnTo>
                    <a:pt x="4602" y="1062"/>
                  </a:lnTo>
                  <a:lnTo>
                    <a:pt x="1416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79" name="Freihandform 324">
              <a:extLst>
                <a:ext uri="{FF2B5EF4-FFF2-40B4-BE49-F238E27FC236}">
                  <a16:creationId xmlns:a16="http://schemas.microsoft.com/office/drawing/2014/main" id="{06EE60E9-4576-4C77-A0AC-15B381B0EC28}"/>
                </a:ext>
              </a:extLst>
            </p:cNvPr>
            <p:cNvSpPr/>
            <p:nvPr/>
          </p:nvSpPr>
          <p:spPr>
            <a:xfrm>
              <a:off x="-884620" y="436803"/>
              <a:ext cx="101944" cy="717256"/>
            </a:xfrm>
            <a:custGeom>
              <a:avLst/>
              <a:gdLst>
                <a:gd name="connsiteX0" fmla="*/ 7787 w 101944"/>
                <a:gd name="connsiteY0" fmla="*/ 0 h 717256"/>
                <a:gd name="connsiteX1" fmla="*/ 0 w 101944"/>
                <a:gd name="connsiteY1" fmla="*/ 1062 h 717256"/>
                <a:gd name="connsiteX2" fmla="*/ 3894 w 101944"/>
                <a:gd name="connsiteY2" fmla="*/ 1062 h 717256"/>
                <a:gd name="connsiteX3" fmla="*/ 8141 w 101944"/>
                <a:gd name="connsiteY3" fmla="*/ 1062 h 717256"/>
                <a:gd name="connsiteX4" fmla="*/ 8141 w 101944"/>
                <a:gd name="connsiteY4" fmla="*/ 29030 h 717256"/>
                <a:gd name="connsiteX5" fmla="*/ 93803 w 101944"/>
                <a:gd name="connsiteY5" fmla="*/ 316499 h 717256"/>
                <a:gd name="connsiteX6" fmla="*/ 8849 w 101944"/>
                <a:gd name="connsiteY6" fmla="*/ 681854 h 717256"/>
                <a:gd name="connsiteX7" fmla="*/ 8141 w 101944"/>
                <a:gd name="connsiteY7" fmla="*/ 29030 h 717256"/>
                <a:gd name="connsiteX8" fmla="*/ 0 w 101944"/>
                <a:gd name="connsiteY8" fmla="*/ 2124 h 717256"/>
                <a:gd name="connsiteX9" fmla="*/ 3894 w 101944"/>
                <a:gd name="connsiteY9" fmla="*/ 1062 h 717256"/>
                <a:gd name="connsiteX10" fmla="*/ 0 w 101944"/>
                <a:gd name="connsiteY10" fmla="*/ 1062 h 717256"/>
                <a:gd name="connsiteX11" fmla="*/ 708 w 101944"/>
                <a:gd name="connsiteY11" fmla="*/ 716548 h 717256"/>
                <a:gd name="connsiteX12" fmla="*/ 8495 w 101944"/>
                <a:gd name="connsiteY12" fmla="*/ 717256 h 717256"/>
                <a:gd name="connsiteX13" fmla="*/ 101945 w 101944"/>
                <a:gd name="connsiteY13" fmla="*/ 316145 h 717256"/>
                <a:gd name="connsiteX14" fmla="*/ 7787 w 101944"/>
                <a:gd name="connsiteY14" fmla="*/ 0 h 71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944" h="717256">
                  <a:moveTo>
                    <a:pt x="7787" y="0"/>
                  </a:moveTo>
                  <a:lnTo>
                    <a:pt x="0" y="1062"/>
                  </a:lnTo>
                  <a:lnTo>
                    <a:pt x="3894" y="1062"/>
                  </a:lnTo>
                  <a:lnTo>
                    <a:pt x="8141" y="1062"/>
                  </a:lnTo>
                  <a:lnTo>
                    <a:pt x="8141" y="29030"/>
                  </a:lnTo>
                  <a:lnTo>
                    <a:pt x="93803" y="316499"/>
                  </a:lnTo>
                  <a:lnTo>
                    <a:pt x="8849" y="681854"/>
                  </a:lnTo>
                  <a:lnTo>
                    <a:pt x="8141" y="29030"/>
                  </a:lnTo>
                  <a:lnTo>
                    <a:pt x="0" y="2124"/>
                  </a:lnTo>
                  <a:lnTo>
                    <a:pt x="3894" y="1062"/>
                  </a:lnTo>
                  <a:lnTo>
                    <a:pt x="0" y="1062"/>
                  </a:lnTo>
                  <a:lnTo>
                    <a:pt x="708" y="716548"/>
                  </a:lnTo>
                  <a:lnTo>
                    <a:pt x="8495" y="717256"/>
                  </a:lnTo>
                  <a:lnTo>
                    <a:pt x="101945" y="316145"/>
                  </a:lnTo>
                  <a:lnTo>
                    <a:pt x="7787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0" name="Freihandform 325">
              <a:extLst>
                <a:ext uri="{FF2B5EF4-FFF2-40B4-BE49-F238E27FC236}">
                  <a16:creationId xmlns:a16="http://schemas.microsoft.com/office/drawing/2014/main" id="{75254726-755C-4C13-B337-67FAA3CE956D}"/>
                </a:ext>
              </a:extLst>
            </p:cNvPr>
            <p:cNvSpPr/>
            <p:nvPr/>
          </p:nvSpPr>
          <p:spPr>
            <a:xfrm>
              <a:off x="-884621" y="437865"/>
              <a:ext cx="8141" cy="27968"/>
            </a:xfrm>
            <a:custGeom>
              <a:avLst/>
              <a:gdLst>
                <a:gd name="connsiteX0" fmla="*/ 3894 w 8141"/>
                <a:gd name="connsiteY0" fmla="*/ 0 h 27968"/>
                <a:gd name="connsiteX1" fmla="*/ 0 w 8141"/>
                <a:gd name="connsiteY1" fmla="*/ 1062 h 27968"/>
                <a:gd name="connsiteX2" fmla="*/ 8141 w 8141"/>
                <a:gd name="connsiteY2" fmla="*/ 27968 h 27968"/>
                <a:gd name="connsiteX3" fmla="*/ 8141 w 8141"/>
                <a:gd name="connsiteY3" fmla="*/ 0 h 27968"/>
                <a:gd name="connsiteX4" fmla="*/ 3894 w 8141"/>
                <a:gd name="connsiteY4" fmla="*/ 0 h 2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41" h="27968">
                  <a:moveTo>
                    <a:pt x="3894" y="0"/>
                  </a:moveTo>
                  <a:lnTo>
                    <a:pt x="0" y="1062"/>
                  </a:lnTo>
                  <a:lnTo>
                    <a:pt x="8141" y="27968"/>
                  </a:lnTo>
                  <a:lnTo>
                    <a:pt x="8141" y="0"/>
                  </a:lnTo>
                  <a:lnTo>
                    <a:pt x="3894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3" name="Freihandform 326">
              <a:extLst>
                <a:ext uri="{FF2B5EF4-FFF2-40B4-BE49-F238E27FC236}">
                  <a16:creationId xmlns:a16="http://schemas.microsoft.com/office/drawing/2014/main" id="{72C78E77-E258-4EB5-8204-8A41FCD3DFC3}"/>
                </a:ext>
              </a:extLst>
            </p:cNvPr>
            <p:cNvSpPr/>
            <p:nvPr/>
          </p:nvSpPr>
          <p:spPr>
            <a:xfrm>
              <a:off x="-786923" y="749053"/>
              <a:ext cx="4247" cy="4248"/>
            </a:xfrm>
            <a:custGeom>
              <a:avLst/>
              <a:gdLst>
                <a:gd name="connsiteX0" fmla="*/ 354 w 4247"/>
                <a:gd name="connsiteY0" fmla="*/ 0 h 4248"/>
                <a:gd name="connsiteX1" fmla="*/ 0 w 4247"/>
                <a:gd name="connsiteY1" fmla="*/ 4248 h 4248"/>
                <a:gd name="connsiteX2" fmla="*/ 4248 w 4247"/>
                <a:gd name="connsiteY2" fmla="*/ 2832 h 4248"/>
                <a:gd name="connsiteX3" fmla="*/ 3186 w 4247"/>
                <a:gd name="connsiteY3" fmla="*/ 354 h 4248"/>
                <a:gd name="connsiteX4" fmla="*/ 354 w 4247"/>
                <a:gd name="connsiteY4" fmla="*/ 0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248">
                  <a:moveTo>
                    <a:pt x="354" y="0"/>
                  </a:moveTo>
                  <a:lnTo>
                    <a:pt x="0" y="4248"/>
                  </a:lnTo>
                  <a:lnTo>
                    <a:pt x="4248" y="2832"/>
                  </a:lnTo>
                  <a:lnTo>
                    <a:pt x="3186" y="354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4" name="Freihandform 327">
              <a:extLst>
                <a:ext uri="{FF2B5EF4-FFF2-40B4-BE49-F238E27FC236}">
                  <a16:creationId xmlns:a16="http://schemas.microsoft.com/office/drawing/2014/main" id="{93F028A5-B334-423C-942A-B8C501DFE9F8}"/>
                </a:ext>
              </a:extLst>
            </p:cNvPr>
            <p:cNvSpPr/>
            <p:nvPr/>
          </p:nvSpPr>
          <p:spPr>
            <a:xfrm>
              <a:off x="-880018" y="1148749"/>
              <a:ext cx="5309" cy="5310"/>
            </a:xfrm>
            <a:custGeom>
              <a:avLst/>
              <a:gdLst>
                <a:gd name="connsiteX0" fmla="*/ 0 w 5309"/>
                <a:gd name="connsiteY0" fmla="*/ 708 h 5310"/>
                <a:gd name="connsiteX1" fmla="*/ 0 w 5309"/>
                <a:gd name="connsiteY1" fmla="*/ 4602 h 5310"/>
                <a:gd name="connsiteX2" fmla="*/ 3894 w 5309"/>
                <a:gd name="connsiteY2" fmla="*/ 5310 h 5310"/>
                <a:gd name="connsiteX3" fmla="*/ 5310 w 5309"/>
                <a:gd name="connsiteY3" fmla="*/ 0 h 5310"/>
                <a:gd name="connsiteX4" fmla="*/ 0 w 5309"/>
                <a:gd name="connsiteY4" fmla="*/ 708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0" y="708"/>
                  </a:moveTo>
                  <a:lnTo>
                    <a:pt x="0" y="4602"/>
                  </a:lnTo>
                  <a:lnTo>
                    <a:pt x="3894" y="5310"/>
                  </a:lnTo>
                  <a:lnTo>
                    <a:pt x="5310" y="0"/>
                  </a:lnTo>
                  <a:lnTo>
                    <a:pt x="0" y="70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5" name="Freihandform 328">
              <a:extLst>
                <a:ext uri="{FF2B5EF4-FFF2-40B4-BE49-F238E27FC236}">
                  <a16:creationId xmlns:a16="http://schemas.microsoft.com/office/drawing/2014/main" id="{D676872B-D975-4727-8542-BA1D01590CA3}"/>
                </a:ext>
              </a:extLst>
            </p:cNvPr>
            <p:cNvSpPr/>
            <p:nvPr/>
          </p:nvSpPr>
          <p:spPr>
            <a:xfrm>
              <a:off x="-884974" y="744451"/>
              <a:ext cx="398929" cy="413148"/>
            </a:xfrm>
            <a:custGeom>
              <a:avLst/>
              <a:gdLst>
                <a:gd name="connsiteX0" fmla="*/ 0 w 398929"/>
                <a:gd name="connsiteY0" fmla="*/ 413148 h 413148"/>
                <a:gd name="connsiteX1" fmla="*/ 5664 w 398929"/>
                <a:gd name="connsiteY1" fmla="*/ 412794 h 413148"/>
                <a:gd name="connsiteX2" fmla="*/ 4956 w 398929"/>
                <a:gd name="connsiteY2" fmla="*/ 408900 h 413148"/>
                <a:gd name="connsiteX3" fmla="*/ 4956 w 398929"/>
                <a:gd name="connsiteY3" fmla="*/ 405006 h 413148"/>
                <a:gd name="connsiteX4" fmla="*/ 10265 w 398929"/>
                <a:gd name="connsiteY4" fmla="*/ 404298 h 413148"/>
                <a:gd name="connsiteX5" fmla="*/ 100175 w 398929"/>
                <a:gd name="connsiteY5" fmla="*/ 17347 h 413148"/>
                <a:gd name="connsiteX6" fmla="*/ 383354 w 398929"/>
                <a:gd name="connsiteY6" fmla="*/ 365001 h 413148"/>
                <a:gd name="connsiteX7" fmla="*/ 10265 w 398929"/>
                <a:gd name="connsiteY7" fmla="*/ 404298 h 413148"/>
                <a:gd name="connsiteX8" fmla="*/ 8849 w 398929"/>
                <a:gd name="connsiteY8" fmla="*/ 409608 h 413148"/>
                <a:gd name="connsiteX9" fmla="*/ 4956 w 398929"/>
                <a:gd name="connsiteY9" fmla="*/ 408900 h 413148"/>
                <a:gd name="connsiteX10" fmla="*/ 5664 w 398929"/>
                <a:gd name="connsiteY10" fmla="*/ 412794 h 413148"/>
                <a:gd name="connsiteX11" fmla="*/ 398929 w 398929"/>
                <a:gd name="connsiteY11" fmla="*/ 371373 h 413148"/>
                <a:gd name="connsiteX12" fmla="*/ 96281 w 398929"/>
                <a:gd name="connsiteY12" fmla="*/ 0 h 413148"/>
                <a:gd name="connsiteX13" fmla="*/ 0 w 398929"/>
                <a:gd name="connsiteY13" fmla="*/ 413148 h 413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8929" h="413148">
                  <a:moveTo>
                    <a:pt x="0" y="413148"/>
                  </a:moveTo>
                  <a:lnTo>
                    <a:pt x="5664" y="412794"/>
                  </a:lnTo>
                  <a:lnTo>
                    <a:pt x="4956" y="408900"/>
                  </a:lnTo>
                  <a:lnTo>
                    <a:pt x="4956" y="405006"/>
                  </a:lnTo>
                  <a:lnTo>
                    <a:pt x="10265" y="404298"/>
                  </a:lnTo>
                  <a:lnTo>
                    <a:pt x="100175" y="17347"/>
                  </a:lnTo>
                  <a:lnTo>
                    <a:pt x="383354" y="365001"/>
                  </a:lnTo>
                  <a:lnTo>
                    <a:pt x="10265" y="404298"/>
                  </a:lnTo>
                  <a:lnTo>
                    <a:pt x="8849" y="409608"/>
                  </a:lnTo>
                  <a:lnTo>
                    <a:pt x="4956" y="408900"/>
                  </a:lnTo>
                  <a:lnTo>
                    <a:pt x="5664" y="412794"/>
                  </a:lnTo>
                  <a:lnTo>
                    <a:pt x="398929" y="371373"/>
                  </a:lnTo>
                  <a:lnTo>
                    <a:pt x="96281" y="0"/>
                  </a:lnTo>
                  <a:lnTo>
                    <a:pt x="0" y="41314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6" name="Freihandform 329">
              <a:extLst>
                <a:ext uri="{FF2B5EF4-FFF2-40B4-BE49-F238E27FC236}">
                  <a16:creationId xmlns:a16="http://schemas.microsoft.com/office/drawing/2014/main" id="{9093234C-2207-4B58-8CAA-84D6A3FD18AE}"/>
                </a:ext>
              </a:extLst>
            </p:cNvPr>
            <p:cNvSpPr/>
            <p:nvPr/>
          </p:nvSpPr>
          <p:spPr>
            <a:xfrm>
              <a:off x="-495602" y="1107682"/>
              <a:ext cx="4955" cy="4956"/>
            </a:xfrm>
            <a:custGeom>
              <a:avLst/>
              <a:gdLst>
                <a:gd name="connsiteX0" fmla="*/ 0 w 4955"/>
                <a:gd name="connsiteY0" fmla="*/ 1416 h 4956"/>
                <a:gd name="connsiteX1" fmla="*/ 1770 w 4955"/>
                <a:gd name="connsiteY1" fmla="*/ 4956 h 4956"/>
                <a:gd name="connsiteX2" fmla="*/ 4956 w 4955"/>
                <a:gd name="connsiteY2" fmla="*/ 2478 h 4956"/>
                <a:gd name="connsiteX3" fmla="*/ 2832 w 4955"/>
                <a:gd name="connsiteY3" fmla="*/ 0 h 4956"/>
                <a:gd name="connsiteX4" fmla="*/ 0 w 4955"/>
                <a:gd name="connsiteY4" fmla="*/ 1416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5" h="4956">
                  <a:moveTo>
                    <a:pt x="0" y="1416"/>
                  </a:moveTo>
                  <a:lnTo>
                    <a:pt x="1770" y="4956"/>
                  </a:lnTo>
                  <a:lnTo>
                    <a:pt x="4956" y="2478"/>
                  </a:lnTo>
                  <a:lnTo>
                    <a:pt x="2832" y="0"/>
                  </a:lnTo>
                  <a:lnTo>
                    <a:pt x="0" y="141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7" name="Freihandform 330">
              <a:extLst>
                <a:ext uri="{FF2B5EF4-FFF2-40B4-BE49-F238E27FC236}">
                  <a16:creationId xmlns:a16="http://schemas.microsoft.com/office/drawing/2014/main" id="{17023AB6-C220-456F-9CE7-67C16CF5CD7E}"/>
                </a:ext>
              </a:extLst>
            </p:cNvPr>
            <p:cNvSpPr/>
            <p:nvPr/>
          </p:nvSpPr>
          <p:spPr>
            <a:xfrm>
              <a:off x="-880018" y="1151935"/>
              <a:ext cx="5663" cy="5310"/>
            </a:xfrm>
            <a:custGeom>
              <a:avLst/>
              <a:gdLst>
                <a:gd name="connsiteX0" fmla="*/ 0 w 5663"/>
                <a:gd name="connsiteY0" fmla="*/ 1416 h 5310"/>
                <a:gd name="connsiteX1" fmla="*/ 708 w 5663"/>
                <a:gd name="connsiteY1" fmla="*/ 5310 h 5310"/>
                <a:gd name="connsiteX2" fmla="*/ 5664 w 5663"/>
                <a:gd name="connsiteY2" fmla="*/ 4956 h 5310"/>
                <a:gd name="connsiteX3" fmla="*/ 3894 w 5663"/>
                <a:gd name="connsiteY3" fmla="*/ 0 h 5310"/>
                <a:gd name="connsiteX4" fmla="*/ 0 w 5663"/>
                <a:gd name="connsiteY4" fmla="*/ 1416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63" h="5310">
                  <a:moveTo>
                    <a:pt x="0" y="1416"/>
                  </a:moveTo>
                  <a:lnTo>
                    <a:pt x="708" y="5310"/>
                  </a:lnTo>
                  <a:lnTo>
                    <a:pt x="5664" y="4956"/>
                  </a:lnTo>
                  <a:lnTo>
                    <a:pt x="3894" y="0"/>
                  </a:lnTo>
                  <a:lnTo>
                    <a:pt x="0" y="141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8" name="Freihandform 331">
              <a:extLst>
                <a:ext uri="{FF2B5EF4-FFF2-40B4-BE49-F238E27FC236}">
                  <a16:creationId xmlns:a16="http://schemas.microsoft.com/office/drawing/2014/main" id="{B35743DE-8D80-4F4F-B33F-97A43C106E64}"/>
                </a:ext>
              </a:extLst>
            </p:cNvPr>
            <p:cNvSpPr/>
            <p:nvPr/>
          </p:nvSpPr>
          <p:spPr>
            <a:xfrm>
              <a:off x="-885329" y="1108036"/>
              <a:ext cx="395389" cy="1050394"/>
            </a:xfrm>
            <a:custGeom>
              <a:avLst/>
              <a:gdLst>
                <a:gd name="connsiteX0" fmla="*/ 0 w 395389"/>
                <a:gd name="connsiteY0" fmla="*/ 41775 h 1050394"/>
                <a:gd name="connsiteX1" fmla="*/ 1770 w 395389"/>
                <a:gd name="connsiteY1" fmla="*/ 46377 h 1050394"/>
                <a:gd name="connsiteX2" fmla="*/ 5310 w 395389"/>
                <a:gd name="connsiteY2" fmla="*/ 45315 h 1050394"/>
                <a:gd name="connsiteX3" fmla="*/ 9203 w 395389"/>
                <a:gd name="connsiteY3" fmla="*/ 43899 h 1050394"/>
                <a:gd name="connsiteX4" fmla="*/ 10973 w 395389"/>
                <a:gd name="connsiteY4" fmla="*/ 48856 h 1050394"/>
                <a:gd name="connsiteX5" fmla="*/ 387248 w 395389"/>
                <a:gd name="connsiteY5" fmla="*/ 9205 h 1050394"/>
                <a:gd name="connsiteX6" fmla="*/ 354328 w 395389"/>
                <a:gd name="connsiteY6" fmla="*/ 1027383 h 1050394"/>
                <a:gd name="connsiteX7" fmla="*/ 10973 w 395389"/>
                <a:gd name="connsiteY7" fmla="*/ 48856 h 1050394"/>
                <a:gd name="connsiteX8" fmla="*/ 6018 w 395389"/>
                <a:gd name="connsiteY8" fmla="*/ 49210 h 1050394"/>
                <a:gd name="connsiteX9" fmla="*/ 5310 w 395389"/>
                <a:gd name="connsiteY9" fmla="*/ 45315 h 1050394"/>
                <a:gd name="connsiteX10" fmla="*/ 1770 w 395389"/>
                <a:gd name="connsiteY10" fmla="*/ 46377 h 1050394"/>
                <a:gd name="connsiteX11" fmla="*/ 353620 w 395389"/>
                <a:gd name="connsiteY11" fmla="*/ 1050395 h 1050394"/>
                <a:gd name="connsiteX12" fmla="*/ 361408 w 395389"/>
                <a:gd name="connsiteY12" fmla="*/ 1048978 h 1050394"/>
                <a:gd name="connsiteX13" fmla="*/ 395390 w 395389"/>
                <a:gd name="connsiteY13" fmla="*/ 0 h 1050394"/>
                <a:gd name="connsiteX14" fmla="*/ 0 w 395389"/>
                <a:gd name="connsiteY14" fmla="*/ 41775 h 1050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5389" h="1050394">
                  <a:moveTo>
                    <a:pt x="0" y="41775"/>
                  </a:moveTo>
                  <a:lnTo>
                    <a:pt x="1770" y="46377"/>
                  </a:lnTo>
                  <a:lnTo>
                    <a:pt x="5310" y="45315"/>
                  </a:lnTo>
                  <a:lnTo>
                    <a:pt x="9203" y="43899"/>
                  </a:lnTo>
                  <a:lnTo>
                    <a:pt x="10973" y="48856"/>
                  </a:lnTo>
                  <a:lnTo>
                    <a:pt x="387248" y="9205"/>
                  </a:lnTo>
                  <a:lnTo>
                    <a:pt x="354328" y="1027383"/>
                  </a:lnTo>
                  <a:lnTo>
                    <a:pt x="10973" y="48856"/>
                  </a:lnTo>
                  <a:lnTo>
                    <a:pt x="6018" y="49210"/>
                  </a:lnTo>
                  <a:lnTo>
                    <a:pt x="5310" y="45315"/>
                  </a:lnTo>
                  <a:lnTo>
                    <a:pt x="1770" y="46377"/>
                  </a:lnTo>
                  <a:lnTo>
                    <a:pt x="353620" y="1050395"/>
                  </a:lnTo>
                  <a:lnTo>
                    <a:pt x="361408" y="1048978"/>
                  </a:lnTo>
                  <a:lnTo>
                    <a:pt x="395390" y="0"/>
                  </a:lnTo>
                  <a:lnTo>
                    <a:pt x="0" y="41775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89" name="Freihandform 332">
              <a:extLst>
                <a:ext uri="{FF2B5EF4-FFF2-40B4-BE49-F238E27FC236}">
                  <a16:creationId xmlns:a16="http://schemas.microsoft.com/office/drawing/2014/main" id="{0C1E0F75-0E7E-42C0-9F69-A10C9291B42E}"/>
                </a:ext>
              </a:extLst>
            </p:cNvPr>
            <p:cNvSpPr/>
            <p:nvPr/>
          </p:nvSpPr>
          <p:spPr>
            <a:xfrm>
              <a:off x="-527815" y="2153121"/>
              <a:ext cx="3893" cy="3894"/>
            </a:xfrm>
            <a:custGeom>
              <a:avLst/>
              <a:gdLst>
                <a:gd name="connsiteX0" fmla="*/ 1062 w 3893"/>
                <a:gd name="connsiteY0" fmla="*/ 0 h 3894"/>
                <a:gd name="connsiteX1" fmla="*/ 0 w 3893"/>
                <a:gd name="connsiteY1" fmla="*/ 3894 h 3894"/>
                <a:gd name="connsiteX2" fmla="*/ 3894 w 3893"/>
                <a:gd name="connsiteY2" fmla="*/ 3894 h 3894"/>
                <a:gd name="connsiteX3" fmla="*/ 3894 w 3893"/>
                <a:gd name="connsiteY3" fmla="*/ 708 h 3894"/>
                <a:gd name="connsiteX4" fmla="*/ 1062 w 3893"/>
                <a:gd name="connsiteY4" fmla="*/ 0 h 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3" h="3894">
                  <a:moveTo>
                    <a:pt x="1062" y="0"/>
                  </a:moveTo>
                  <a:lnTo>
                    <a:pt x="0" y="3894"/>
                  </a:lnTo>
                  <a:lnTo>
                    <a:pt x="3894" y="3894"/>
                  </a:lnTo>
                  <a:lnTo>
                    <a:pt x="3894" y="708"/>
                  </a:lnTo>
                  <a:lnTo>
                    <a:pt x="1062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0" name="Freihandform 333">
              <a:extLst>
                <a:ext uri="{FF2B5EF4-FFF2-40B4-BE49-F238E27FC236}">
                  <a16:creationId xmlns:a16="http://schemas.microsoft.com/office/drawing/2014/main" id="{60C2B0E7-9716-4349-90DC-BBF3B2E3C1EF}"/>
                </a:ext>
              </a:extLst>
            </p:cNvPr>
            <p:cNvSpPr/>
            <p:nvPr/>
          </p:nvSpPr>
          <p:spPr>
            <a:xfrm>
              <a:off x="-532062" y="1111931"/>
              <a:ext cx="207783" cy="1094293"/>
            </a:xfrm>
            <a:custGeom>
              <a:avLst/>
              <a:gdLst>
                <a:gd name="connsiteX0" fmla="*/ 34336 w 207783"/>
                <a:gd name="connsiteY0" fmla="*/ 708 h 1094293"/>
                <a:gd name="connsiteX1" fmla="*/ 0 w 207783"/>
                <a:gd name="connsiteY1" fmla="*/ 1048271 h 1094293"/>
                <a:gd name="connsiteX2" fmla="*/ 3540 w 207783"/>
                <a:gd name="connsiteY2" fmla="*/ 1048979 h 1094293"/>
                <a:gd name="connsiteX3" fmla="*/ 4248 w 207783"/>
                <a:gd name="connsiteY3" fmla="*/ 1045084 h 1094293"/>
                <a:gd name="connsiteX4" fmla="*/ 5310 w 207783"/>
                <a:gd name="connsiteY4" fmla="*/ 1041190 h 1094293"/>
                <a:gd name="connsiteX5" fmla="*/ 8141 w 207783"/>
                <a:gd name="connsiteY5" fmla="*/ 1041898 h 1094293"/>
                <a:gd name="connsiteX6" fmla="*/ 40707 w 207783"/>
                <a:gd name="connsiteY6" fmla="*/ 44253 h 1094293"/>
                <a:gd name="connsiteX7" fmla="*/ 198226 w 207783"/>
                <a:gd name="connsiteY7" fmla="*/ 1084027 h 1094293"/>
                <a:gd name="connsiteX8" fmla="*/ 8141 w 207783"/>
                <a:gd name="connsiteY8" fmla="*/ 1041898 h 1094293"/>
                <a:gd name="connsiteX9" fmla="*/ 8141 w 207783"/>
                <a:gd name="connsiteY9" fmla="*/ 1045084 h 1094293"/>
                <a:gd name="connsiteX10" fmla="*/ 4248 w 207783"/>
                <a:gd name="connsiteY10" fmla="*/ 1045084 h 1094293"/>
                <a:gd name="connsiteX11" fmla="*/ 3540 w 207783"/>
                <a:gd name="connsiteY11" fmla="*/ 1048979 h 1094293"/>
                <a:gd name="connsiteX12" fmla="*/ 207783 w 207783"/>
                <a:gd name="connsiteY12" fmla="*/ 1094294 h 1094293"/>
                <a:gd name="connsiteX13" fmla="*/ 42123 w 207783"/>
                <a:gd name="connsiteY13" fmla="*/ 0 h 1094293"/>
                <a:gd name="connsiteX14" fmla="*/ 34336 w 207783"/>
                <a:gd name="connsiteY14" fmla="*/ 708 h 1094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783" h="1094293">
                  <a:moveTo>
                    <a:pt x="34336" y="708"/>
                  </a:moveTo>
                  <a:lnTo>
                    <a:pt x="0" y="1048271"/>
                  </a:lnTo>
                  <a:lnTo>
                    <a:pt x="3540" y="1048979"/>
                  </a:lnTo>
                  <a:lnTo>
                    <a:pt x="4248" y="1045084"/>
                  </a:lnTo>
                  <a:lnTo>
                    <a:pt x="5310" y="1041190"/>
                  </a:lnTo>
                  <a:lnTo>
                    <a:pt x="8141" y="1041898"/>
                  </a:lnTo>
                  <a:lnTo>
                    <a:pt x="40707" y="44253"/>
                  </a:lnTo>
                  <a:lnTo>
                    <a:pt x="198226" y="1084027"/>
                  </a:lnTo>
                  <a:lnTo>
                    <a:pt x="8141" y="1041898"/>
                  </a:lnTo>
                  <a:lnTo>
                    <a:pt x="8141" y="1045084"/>
                  </a:lnTo>
                  <a:lnTo>
                    <a:pt x="4248" y="1045084"/>
                  </a:lnTo>
                  <a:lnTo>
                    <a:pt x="3540" y="1048979"/>
                  </a:lnTo>
                  <a:lnTo>
                    <a:pt x="207783" y="1094294"/>
                  </a:lnTo>
                  <a:lnTo>
                    <a:pt x="42123" y="0"/>
                  </a:lnTo>
                  <a:lnTo>
                    <a:pt x="34336" y="70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1" name="Freihandform 334">
              <a:extLst>
                <a:ext uri="{FF2B5EF4-FFF2-40B4-BE49-F238E27FC236}">
                  <a16:creationId xmlns:a16="http://schemas.microsoft.com/office/drawing/2014/main" id="{13092C66-53A6-44BD-B90F-6982034DCAA0}"/>
                </a:ext>
              </a:extLst>
            </p:cNvPr>
            <p:cNvSpPr/>
            <p:nvPr/>
          </p:nvSpPr>
          <p:spPr>
            <a:xfrm>
              <a:off x="-2051320" y="105435"/>
              <a:ext cx="1180150" cy="1080486"/>
            </a:xfrm>
            <a:custGeom>
              <a:avLst/>
              <a:gdLst>
                <a:gd name="connsiteX0" fmla="*/ 0 w 1180150"/>
                <a:gd name="connsiteY0" fmla="*/ 1071282 h 1080486"/>
                <a:gd name="connsiteX1" fmla="*/ 0 w 1180150"/>
                <a:gd name="connsiteY1" fmla="*/ 1080487 h 1080486"/>
                <a:gd name="connsiteX2" fmla="*/ 1180151 w 1180150"/>
                <a:gd name="connsiteY2" fmla="*/ 331014 h 1080486"/>
                <a:gd name="connsiteX3" fmla="*/ 118227 w 1180150"/>
                <a:gd name="connsiteY3" fmla="*/ 0 h 1080486"/>
                <a:gd name="connsiteX4" fmla="*/ 91325 w 1180150"/>
                <a:gd name="connsiteY4" fmla="*/ 0 h 1080486"/>
                <a:gd name="connsiteX5" fmla="*/ 1161390 w 1180150"/>
                <a:gd name="connsiteY5" fmla="*/ 333492 h 1080486"/>
                <a:gd name="connsiteX6" fmla="*/ 0 w 1180150"/>
                <a:gd name="connsiteY6" fmla="*/ 1071282 h 1080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0150" h="1080486">
                  <a:moveTo>
                    <a:pt x="0" y="1071282"/>
                  </a:moveTo>
                  <a:lnTo>
                    <a:pt x="0" y="1080487"/>
                  </a:lnTo>
                  <a:lnTo>
                    <a:pt x="1180151" y="331014"/>
                  </a:lnTo>
                  <a:lnTo>
                    <a:pt x="118227" y="0"/>
                  </a:lnTo>
                  <a:lnTo>
                    <a:pt x="91325" y="0"/>
                  </a:lnTo>
                  <a:lnTo>
                    <a:pt x="1161390" y="333492"/>
                  </a:lnTo>
                  <a:lnTo>
                    <a:pt x="0" y="107128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2" name="Freihandform 335">
              <a:extLst>
                <a:ext uri="{FF2B5EF4-FFF2-40B4-BE49-F238E27FC236}">
                  <a16:creationId xmlns:a16="http://schemas.microsoft.com/office/drawing/2014/main" id="{EF60EE5F-CF80-4C51-B1CB-9B0A74EE0BCB}"/>
                </a:ext>
              </a:extLst>
            </p:cNvPr>
            <p:cNvSpPr/>
            <p:nvPr/>
          </p:nvSpPr>
          <p:spPr>
            <a:xfrm>
              <a:off x="-2051320" y="2141438"/>
              <a:ext cx="614853" cy="699908"/>
            </a:xfrm>
            <a:custGeom>
              <a:avLst/>
              <a:gdLst>
                <a:gd name="connsiteX0" fmla="*/ 0 w 614853"/>
                <a:gd name="connsiteY0" fmla="*/ 0 h 699908"/>
                <a:gd name="connsiteX1" fmla="*/ 0 w 614853"/>
                <a:gd name="connsiteY1" fmla="*/ 12037 h 699908"/>
                <a:gd name="connsiteX2" fmla="*/ 584766 w 614853"/>
                <a:gd name="connsiteY2" fmla="*/ 671941 h 699908"/>
                <a:gd name="connsiteX3" fmla="*/ 0 w 614853"/>
                <a:gd name="connsiteY3" fmla="*/ 247818 h 699908"/>
                <a:gd name="connsiteX4" fmla="*/ 0 w 614853"/>
                <a:gd name="connsiteY4" fmla="*/ 257377 h 699908"/>
                <a:gd name="connsiteX5" fmla="*/ 609544 w 614853"/>
                <a:gd name="connsiteY5" fmla="*/ 699909 h 699908"/>
                <a:gd name="connsiteX6" fmla="*/ 614854 w 614853"/>
                <a:gd name="connsiteY6" fmla="*/ 693891 h 699908"/>
                <a:gd name="connsiteX7" fmla="*/ 0 w 614853"/>
                <a:gd name="connsiteY7" fmla="*/ 0 h 699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4853" h="699908">
                  <a:moveTo>
                    <a:pt x="0" y="0"/>
                  </a:moveTo>
                  <a:lnTo>
                    <a:pt x="0" y="12037"/>
                  </a:lnTo>
                  <a:lnTo>
                    <a:pt x="584766" y="671941"/>
                  </a:lnTo>
                  <a:lnTo>
                    <a:pt x="0" y="247818"/>
                  </a:lnTo>
                  <a:lnTo>
                    <a:pt x="0" y="257377"/>
                  </a:lnTo>
                  <a:lnTo>
                    <a:pt x="609544" y="699909"/>
                  </a:lnTo>
                  <a:lnTo>
                    <a:pt x="614854" y="6938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3" name="Freihandform 336">
              <a:extLst>
                <a:ext uri="{FF2B5EF4-FFF2-40B4-BE49-F238E27FC236}">
                  <a16:creationId xmlns:a16="http://schemas.microsoft.com/office/drawing/2014/main" id="{8E067522-BDC9-42C2-A87C-8E768517CB7E}"/>
                </a:ext>
              </a:extLst>
            </p:cNvPr>
            <p:cNvSpPr/>
            <p:nvPr/>
          </p:nvSpPr>
          <p:spPr>
            <a:xfrm>
              <a:off x="-2051320" y="430784"/>
              <a:ext cx="1175549" cy="982421"/>
            </a:xfrm>
            <a:custGeom>
              <a:avLst/>
              <a:gdLst>
                <a:gd name="connsiteX0" fmla="*/ 0 w 1175549"/>
                <a:gd name="connsiteY0" fmla="*/ 755137 h 982421"/>
                <a:gd name="connsiteX1" fmla="*/ 1166700 w 1175549"/>
                <a:gd name="connsiteY1" fmla="*/ 14161 h 982421"/>
                <a:gd name="connsiteX2" fmla="*/ 1167408 w 1175549"/>
                <a:gd name="connsiteY2" fmla="*/ 719380 h 982421"/>
                <a:gd name="connsiteX3" fmla="*/ 0 w 1175549"/>
                <a:gd name="connsiteY3" fmla="*/ 974633 h 982421"/>
                <a:gd name="connsiteX4" fmla="*/ 0 w 1175549"/>
                <a:gd name="connsiteY4" fmla="*/ 982422 h 982421"/>
                <a:gd name="connsiteX5" fmla="*/ 1175549 w 1175549"/>
                <a:gd name="connsiteY5" fmla="*/ 725753 h 982421"/>
                <a:gd name="connsiteX6" fmla="*/ 1174841 w 1175549"/>
                <a:gd name="connsiteY6" fmla="*/ 0 h 982421"/>
                <a:gd name="connsiteX7" fmla="*/ 0 w 1175549"/>
                <a:gd name="connsiteY7" fmla="*/ 745932 h 982421"/>
                <a:gd name="connsiteX8" fmla="*/ 0 w 1175549"/>
                <a:gd name="connsiteY8" fmla="*/ 755137 h 982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549" h="982421">
                  <a:moveTo>
                    <a:pt x="0" y="755137"/>
                  </a:moveTo>
                  <a:lnTo>
                    <a:pt x="1166700" y="14161"/>
                  </a:lnTo>
                  <a:lnTo>
                    <a:pt x="1167408" y="719380"/>
                  </a:lnTo>
                  <a:lnTo>
                    <a:pt x="0" y="974633"/>
                  </a:lnTo>
                  <a:lnTo>
                    <a:pt x="0" y="982422"/>
                  </a:lnTo>
                  <a:lnTo>
                    <a:pt x="1175549" y="725753"/>
                  </a:lnTo>
                  <a:lnTo>
                    <a:pt x="1174841" y="0"/>
                  </a:lnTo>
                  <a:lnTo>
                    <a:pt x="0" y="745932"/>
                  </a:lnTo>
                  <a:lnTo>
                    <a:pt x="0" y="755137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4" name="Freihandform 337">
              <a:extLst>
                <a:ext uri="{FF2B5EF4-FFF2-40B4-BE49-F238E27FC236}">
                  <a16:creationId xmlns:a16="http://schemas.microsoft.com/office/drawing/2014/main" id="{3EDC2C71-3FB5-45AB-8898-D45BD35B31FF}"/>
                </a:ext>
              </a:extLst>
            </p:cNvPr>
            <p:cNvSpPr/>
            <p:nvPr/>
          </p:nvSpPr>
          <p:spPr>
            <a:xfrm>
              <a:off x="-493832" y="1110868"/>
              <a:ext cx="5309" cy="5310"/>
            </a:xfrm>
            <a:custGeom>
              <a:avLst/>
              <a:gdLst>
                <a:gd name="connsiteX0" fmla="*/ 0 w 5309"/>
                <a:gd name="connsiteY0" fmla="*/ 1770 h 5310"/>
                <a:gd name="connsiteX1" fmla="*/ 1770 w 5309"/>
                <a:gd name="connsiteY1" fmla="*/ 5310 h 5310"/>
                <a:gd name="connsiteX2" fmla="*/ 5310 w 5309"/>
                <a:gd name="connsiteY2" fmla="*/ 3540 h 5310"/>
                <a:gd name="connsiteX3" fmla="*/ 3540 w 5309"/>
                <a:gd name="connsiteY3" fmla="*/ 0 h 5310"/>
                <a:gd name="connsiteX4" fmla="*/ 0 w 5309"/>
                <a:gd name="connsiteY4" fmla="*/ 1770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0" y="1770"/>
                  </a:moveTo>
                  <a:lnTo>
                    <a:pt x="1770" y="5310"/>
                  </a:lnTo>
                  <a:lnTo>
                    <a:pt x="5310" y="3540"/>
                  </a:lnTo>
                  <a:lnTo>
                    <a:pt x="3540" y="0"/>
                  </a:lnTo>
                  <a:lnTo>
                    <a:pt x="0" y="177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5" name="Freihandform 338">
              <a:extLst>
                <a:ext uri="{FF2B5EF4-FFF2-40B4-BE49-F238E27FC236}">
                  <a16:creationId xmlns:a16="http://schemas.microsoft.com/office/drawing/2014/main" id="{86E12805-5279-4FF1-B0ED-9EA5095CA41D}"/>
                </a:ext>
              </a:extLst>
            </p:cNvPr>
            <p:cNvSpPr/>
            <p:nvPr/>
          </p:nvSpPr>
          <p:spPr>
            <a:xfrm>
              <a:off x="-497726" y="1110868"/>
              <a:ext cx="561049" cy="1094647"/>
            </a:xfrm>
            <a:custGeom>
              <a:avLst/>
              <a:gdLst>
                <a:gd name="connsiteX0" fmla="*/ 0 w 561049"/>
                <a:gd name="connsiteY0" fmla="*/ 2478 h 1094647"/>
                <a:gd name="connsiteX1" fmla="*/ 165660 w 561049"/>
                <a:gd name="connsiteY1" fmla="*/ 1094648 h 1094647"/>
                <a:gd name="connsiteX2" fmla="*/ 169200 w 561049"/>
                <a:gd name="connsiteY2" fmla="*/ 1094294 h 1094647"/>
                <a:gd name="connsiteX3" fmla="*/ 168846 w 561049"/>
                <a:gd name="connsiteY3" fmla="*/ 1090046 h 1094647"/>
                <a:gd name="connsiteX4" fmla="*/ 168492 w 561049"/>
                <a:gd name="connsiteY4" fmla="*/ 1086151 h 1094647"/>
                <a:gd name="connsiteX5" fmla="*/ 172032 w 561049"/>
                <a:gd name="connsiteY5" fmla="*/ 1085797 h 1094647"/>
                <a:gd name="connsiteX6" fmla="*/ 11327 w 561049"/>
                <a:gd name="connsiteY6" fmla="*/ 24782 h 1094647"/>
                <a:gd name="connsiteX7" fmla="*/ 548306 w 561049"/>
                <a:gd name="connsiteY7" fmla="*/ 1046500 h 1094647"/>
                <a:gd name="connsiteX8" fmla="*/ 172032 w 561049"/>
                <a:gd name="connsiteY8" fmla="*/ 1085797 h 1094647"/>
                <a:gd name="connsiteX9" fmla="*/ 172740 w 561049"/>
                <a:gd name="connsiteY9" fmla="*/ 1089691 h 1094647"/>
                <a:gd name="connsiteX10" fmla="*/ 168846 w 561049"/>
                <a:gd name="connsiteY10" fmla="*/ 1090046 h 1094647"/>
                <a:gd name="connsiteX11" fmla="*/ 169200 w 561049"/>
                <a:gd name="connsiteY11" fmla="*/ 1094294 h 1094647"/>
                <a:gd name="connsiteX12" fmla="*/ 561050 w 561049"/>
                <a:gd name="connsiteY12" fmla="*/ 1052873 h 1094647"/>
                <a:gd name="connsiteX13" fmla="*/ 7433 w 561049"/>
                <a:gd name="connsiteY13" fmla="*/ 0 h 1094647"/>
                <a:gd name="connsiteX14" fmla="*/ 0 w 561049"/>
                <a:gd name="connsiteY14" fmla="*/ 2478 h 1094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61049" h="1094647">
                  <a:moveTo>
                    <a:pt x="0" y="2478"/>
                  </a:moveTo>
                  <a:lnTo>
                    <a:pt x="165660" y="1094648"/>
                  </a:lnTo>
                  <a:lnTo>
                    <a:pt x="169200" y="1094294"/>
                  </a:lnTo>
                  <a:lnTo>
                    <a:pt x="168846" y="1090046"/>
                  </a:lnTo>
                  <a:lnTo>
                    <a:pt x="168492" y="1086151"/>
                  </a:lnTo>
                  <a:lnTo>
                    <a:pt x="172032" y="1085797"/>
                  </a:lnTo>
                  <a:lnTo>
                    <a:pt x="11327" y="24782"/>
                  </a:lnTo>
                  <a:lnTo>
                    <a:pt x="548306" y="1046500"/>
                  </a:lnTo>
                  <a:lnTo>
                    <a:pt x="172032" y="1085797"/>
                  </a:lnTo>
                  <a:lnTo>
                    <a:pt x="172740" y="1089691"/>
                  </a:lnTo>
                  <a:lnTo>
                    <a:pt x="168846" y="1090046"/>
                  </a:lnTo>
                  <a:lnTo>
                    <a:pt x="169200" y="1094294"/>
                  </a:lnTo>
                  <a:lnTo>
                    <a:pt x="561050" y="1052873"/>
                  </a:lnTo>
                  <a:lnTo>
                    <a:pt x="7433" y="0"/>
                  </a:lnTo>
                  <a:lnTo>
                    <a:pt x="0" y="247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198" name="Freihandform 339">
              <a:extLst>
                <a:ext uri="{FF2B5EF4-FFF2-40B4-BE49-F238E27FC236}">
                  <a16:creationId xmlns:a16="http://schemas.microsoft.com/office/drawing/2014/main" id="{509D99A9-0AED-44E4-9BE6-B630CB681F0E}"/>
                </a:ext>
              </a:extLst>
            </p:cNvPr>
            <p:cNvSpPr/>
            <p:nvPr/>
          </p:nvSpPr>
          <p:spPr>
            <a:xfrm>
              <a:off x="-329234" y="2196666"/>
              <a:ext cx="4247" cy="4248"/>
            </a:xfrm>
            <a:custGeom>
              <a:avLst/>
              <a:gdLst>
                <a:gd name="connsiteX0" fmla="*/ 0 w 4247"/>
                <a:gd name="connsiteY0" fmla="*/ 354 h 4248"/>
                <a:gd name="connsiteX1" fmla="*/ 354 w 4247"/>
                <a:gd name="connsiteY1" fmla="*/ 4248 h 4248"/>
                <a:gd name="connsiteX2" fmla="*/ 4248 w 4247"/>
                <a:gd name="connsiteY2" fmla="*/ 3894 h 4248"/>
                <a:gd name="connsiteX3" fmla="*/ 3540 w 4247"/>
                <a:gd name="connsiteY3" fmla="*/ 0 h 4248"/>
                <a:gd name="connsiteX4" fmla="*/ 0 w 4247"/>
                <a:gd name="connsiteY4" fmla="*/ 354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248">
                  <a:moveTo>
                    <a:pt x="0" y="354"/>
                  </a:moveTo>
                  <a:lnTo>
                    <a:pt x="354" y="4248"/>
                  </a:lnTo>
                  <a:lnTo>
                    <a:pt x="4248" y="3894"/>
                  </a:lnTo>
                  <a:lnTo>
                    <a:pt x="3540" y="0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0" name="Freihandform 340">
              <a:extLst>
                <a:ext uri="{FF2B5EF4-FFF2-40B4-BE49-F238E27FC236}">
                  <a16:creationId xmlns:a16="http://schemas.microsoft.com/office/drawing/2014/main" id="{3EBE0CDD-35E1-417A-A19A-825F29D48158}"/>
                </a:ext>
              </a:extLst>
            </p:cNvPr>
            <p:cNvSpPr/>
            <p:nvPr/>
          </p:nvSpPr>
          <p:spPr>
            <a:xfrm>
              <a:off x="56951" y="2156660"/>
              <a:ext cx="4247" cy="3894"/>
            </a:xfrm>
            <a:custGeom>
              <a:avLst/>
              <a:gdLst>
                <a:gd name="connsiteX0" fmla="*/ 708 w 4247"/>
                <a:gd name="connsiteY0" fmla="*/ 0 h 3894"/>
                <a:gd name="connsiteX1" fmla="*/ 0 w 4247"/>
                <a:gd name="connsiteY1" fmla="*/ 3894 h 3894"/>
                <a:gd name="connsiteX2" fmla="*/ 4248 w 4247"/>
                <a:gd name="connsiteY2" fmla="*/ 3894 h 3894"/>
                <a:gd name="connsiteX3" fmla="*/ 4248 w 4247"/>
                <a:gd name="connsiteY3" fmla="*/ 708 h 3894"/>
                <a:gd name="connsiteX4" fmla="*/ 708 w 4247"/>
                <a:gd name="connsiteY4" fmla="*/ 0 h 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3894">
                  <a:moveTo>
                    <a:pt x="708" y="0"/>
                  </a:moveTo>
                  <a:lnTo>
                    <a:pt x="0" y="3894"/>
                  </a:lnTo>
                  <a:lnTo>
                    <a:pt x="4248" y="3894"/>
                  </a:lnTo>
                  <a:lnTo>
                    <a:pt x="4248" y="708"/>
                  </a:lnTo>
                  <a:lnTo>
                    <a:pt x="708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4" name="Freihandform 341">
              <a:extLst>
                <a:ext uri="{FF2B5EF4-FFF2-40B4-BE49-F238E27FC236}">
                  <a16:creationId xmlns:a16="http://schemas.microsoft.com/office/drawing/2014/main" id="{BC8340DD-391B-485D-B259-2499F9DBA130}"/>
                </a:ext>
              </a:extLst>
            </p:cNvPr>
            <p:cNvSpPr/>
            <p:nvPr/>
          </p:nvSpPr>
          <p:spPr>
            <a:xfrm>
              <a:off x="-338792" y="2156661"/>
              <a:ext cx="397867" cy="164621"/>
            </a:xfrm>
            <a:custGeom>
              <a:avLst/>
              <a:gdLst>
                <a:gd name="connsiteX0" fmla="*/ 0 w 397867"/>
                <a:gd name="connsiteY0" fmla="*/ 41421 h 164621"/>
                <a:gd name="connsiteX1" fmla="*/ 150085 w 397867"/>
                <a:gd name="connsiteY1" fmla="*/ 164622 h 164621"/>
                <a:gd name="connsiteX2" fmla="*/ 152563 w 397867"/>
                <a:gd name="connsiteY2" fmla="*/ 163206 h 164621"/>
                <a:gd name="connsiteX3" fmla="*/ 150439 w 397867"/>
                <a:gd name="connsiteY3" fmla="*/ 159666 h 164621"/>
                <a:gd name="connsiteX4" fmla="*/ 148315 w 397867"/>
                <a:gd name="connsiteY4" fmla="*/ 156479 h 164621"/>
                <a:gd name="connsiteX5" fmla="*/ 150793 w 397867"/>
                <a:gd name="connsiteY5" fmla="*/ 154709 h 164621"/>
                <a:gd name="connsiteX6" fmla="*/ 19823 w 397867"/>
                <a:gd name="connsiteY6" fmla="*/ 47439 h 164621"/>
                <a:gd name="connsiteX7" fmla="*/ 379461 w 397867"/>
                <a:gd name="connsiteY7" fmla="*/ 9559 h 164621"/>
                <a:gd name="connsiteX8" fmla="*/ 150793 w 397867"/>
                <a:gd name="connsiteY8" fmla="*/ 154709 h 164621"/>
                <a:gd name="connsiteX9" fmla="*/ 152917 w 397867"/>
                <a:gd name="connsiteY9" fmla="*/ 156833 h 164621"/>
                <a:gd name="connsiteX10" fmla="*/ 150439 w 397867"/>
                <a:gd name="connsiteY10" fmla="*/ 159666 h 164621"/>
                <a:gd name="connsiteX11" fmla="*/ 152563 w 397867"/>
                <a:gd name="connsiteY11" fmla="*/ 163206 h 164621"/>
                <a:gd name="connsiteX12" fmla="*/ 397867 w 397867"/>
                <a:gd name="connsiteY12" fmla="*/ 7434 h 164621"/>
                <a:gd name="connsiteX13" fmla="*/ 395390 w 397867"/>
                <a:gd name="connsiteY13" fmla="*/ 0 h 164621"/>
                <a:gd name="connsiteX14" fmla="*/ 0 w 397867"/>
                <a:gd name="connsiteY14" fmla="*/ 41421 h 164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7867" h="164621">
                  <a:moveTo>
                    <a:pt x="0" y="41421"/>
                  </a:moveTo>
                  <a:lnTo>
                    <a:pt x="150085" y="164622"/>
                  </a:lnTo>
                  <a:lnTo>
                    <a:pt x="152563" y="163206"/>
                  </a:lnTo>
                  <a:lnTo>
                    <a:pt x="150439" y="159666"/>
                  </a:lnTo>
                  <a:lnTo>
                    <a:pt x="148315" y="156479"/>
                  </a:lnTo>
                  <a:lnTo>
                    <a:pt x="150793" y="154709"/>
                  </a:lnTo>
                  <a:lnTo>
                    <a:pt x="19823" y="47439"/>
                  </a:lnTo>
                  <a:lnTo>
                    <a:pt x="379461" y="9559"/>
                  </a:lnTo>
                  <a:lnTo>
                    <a:pt x="150793" y="154709"/>
                  </a:lnTo>
                  <a:lnTo>
                    <a:pt x="152917" y="156833"/>
                  </a:lnTo>
                  <a:lnTo>
                    <a:pt x="150439" y="159666"/>
                  </a:lnTo>
                  <a:lnTo>
                    <a:pt x="152563" y="163206"/>
                  </a:lnTo>
                  <a:lnTo>
                    <a:pt x="397867" y="7434"/>
                  </a:lnTo>
                  <a:lnTo>
                    <a:pt x="395390" y="0"/>
                  </a:lnTo>
                  <a:lnTo>
                    <a:pt x="0" y="41421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5" name="Freihandform 342">
              <a:extLst>
                <a:ext uri="{FF2B5EF4-FFF2-40B4-BE49-F238E27FC236}">
                  <a16:creationId xmlns:a16="http://schemas.microsoft.com/office/drawing/2014/main" id="{369B060E-9F85-4468-981A-8798B973CB0A}"/>
                </a:ext>
              </a:extLst>
            </p:cNvPr>
            <p:cNvSpPr/>
            <p:nvPr/>
          </p:nvSpPr>
          <p:spPr>
            <a:xfrm>
              <a:off x="-190476" y="2311369"/>
              <a:ext cx="4601" cy="4956"/>
            </a:xfrm>
            <a:custGeom>
              <a:avLst/>
              <a:gdLst>
                <a:gd name="connsiteX0" fmla="*/ 0 w 4601"/>
                <a:gd name="connsiteY0" fmla="*/ 1770 h 4956"/>
                <a:gd name="connsiteX1" fmla="*/ 2124 w 4601"/>
                <a:gd name="connsiteY1" fmla="*/ 4956 h 4956"/>
                <a:gd name="connsiteX2" fmla="*/ 4602 w 4601"/>
                <a:gd name="connsiteY2" fmla="*/ 2124 h 4956"/>
                <a:gd name="connsiteX3" fmla="*/ 2478 w 4601"/>
                <a:gd name="connsiteY3" fmla="*/ 0 h 4956"/>
                <a:gd name="connsiteX4" fmla="*/ 0 w 4601"/>
                <a:gd name="connsiteY4" fmla="*/ 1770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956">
                  <a:moveTo>
                    <a:pt x="0" y="1770"/>
                  </a:moveTo>
                  <a:lnTo>
                    <a:pt x="2124" y="4956"/>
                  </a:lnTo>
                  <a:lnTo>
                    <a:pt x="4602" y="2124"/>
                  </a:lnTo>
                  <a:lnTo>
                    <a:pt x="2478" y="0"/>
                  </a:lnTo>
                  <a:lnTo>
                    <a:pt x="0" y="177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7" name="Freihandform 343">
              <a:extLst>
                <a:ext uri="{FF2B5EF4-FFF2-40B4-BE49-F238E27FC236}">
                  <a16:creationId xmlns:a16="http://schemas.microsoft.com/office/drawing/2014/main" id="{4BB27E41-4B39-4933-AF39-DF219A2984EC}"/>
                </a:ext>
              </a:extLst>
            </p:cNvPr>
            <p:cNvSpPr/>
            <p:nvPr/>
          </p:nvSpPr>
          <p:spPr>
            <a:xfrm>
              <a:off x="-188352" y="2314910"/>
              <a:ext cx="4955" cy="4956"/>
            </a:xfrm>
            <a:custGeom>
              <a:avLst/>
              <a:gdLst>
                <a:gd name="connsiteX0" fmla="*/ 0 w 4955"/>
                <a:gd name="connsiteY0" fmla="*/ 1416 h 4956"/>
                <a:gd name="connsiteX1" fmla="*/ 2124 w 4955"/>
                <a:gd name="connsiteY1" fmla="*/ 4956 h 4956"/>
                <a:gd name="connsiteX2" fmla="*/ 4956 w 4955"/>
                <a:gd name="connsiteY2" fmla="*/ 3186 h 4956"/>
                <a:gd name="connsiteX3" fmla="*/ 3540 w 4955"/>
                <a:gd name="connsiteY3" fmla="*/ 0 h 4956"/>
                <a:gd name="connsiteX4" fmla="*/ 0 w 4955"/>
                <a:gd name="connsiteY4" fmla="*/ 1416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5" h="4956">
                  <a:moveTo>
                    <a:pt x="0" y="1416"/>
                  </a:moveTo>
                  <a:lnTo>
                    <a:pt x="2124" y="4956"/>
                  </a:lnTo>
                  <a:lnTo>
                    <a:pt x="4956" y="3186"/>
                  </a:lnTo>
                  <a:lnTo>
                    <a:pt x="3540" y="0"/>
                  </a:lnTo>
                  <a:lnTo>
                    <a:pt x="0" y="141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8" name="Freihandform 344">
              <a:extLst>
                <a:ext uri="{FF2B5EF4-FFF2-40B4-BE49-F238E27FC236}">
                  <a16:creationId xmlns:a16="http://schemas.microsoft.com/office/drawing/2014/main" id="{25A27992-13B5-4317-8DC1-FA2F223A93AA}"/>
                </a:ext>
              </a:extLst>
            </p:cNvPr>
            <p:cNvSpPr/>
            <p:nvPr/>
          </p:nvSpPr>
          <p:spPr>
            <a:xfrm>
              <a:off x="-193309" y="2153828"/>
              <a:ext cx="337337" cy="910200"/>
            </a:xfrm>
            <a:custGeom>
              <a:avLst/>
              <a:gdLst>
                <a:gd name="connsiteX0" fmla="*/ 0 w 337337"/>
                <a:gd name="connsiteY0" fmla="*/ 161082 h 910200"/>
                <a:gd name="connsiteX1" fmla="*/ 1416 w 337337"/>
                <a:gd name="connsiteY1" fmla="*/ 164268 h 910200"/>
                <a:gd name="connsiteX2" fmla="*/ 4956 w 337337"/>
                <a:gd name="connsiteY2" fmla="*/ 162498 h 910200"/>
                <a:gd name="connsiteX3" fmla="*/ 8495 w 337337"/>
                <a:gd name="connsiteY3" fmla="*/ 161082 h 910200"/>
                <a:gd name="connsiteX4" fmla="*/ 9911 w 337337"/>
                <a:gd name="connsiteY4" fmla="*/ 164268 h 910200"/>
                <a:gd name="connsiteX5" fmla="*/ 246720 w 337337"/>
                <a:gd name="connsiteY5" fmla="*/ 13453 h 910200"/>
                <a:gd name="connsiteX6" fmla="*/ 327072 w 337337"/>
                <a:gd name="connsiteY6" fmla="*/ 884711 h 910200"/>
                <a:gd name="connsiteX7" fmla="*/ 9911 w 337337"/>
                <a:gd name="connsiteY7" fmla="*/ 164268 h 910200"/>
                <a:gd name="connsiteX8" fmla="*/ 7079 w 337337"/>
                <a:gd name="connsiteY8" fmla="*/ 166038 h 910200"/>
                <a:gd name="connsiteX9" fmla="*/ 4956 w 337337"/>
                <a:gd name="connsiteY9" fmla="*/ 162498 h 910200"/>
                <a:gd name="connsiteX10" fmla="*/ 1416 w 337337"/>
                <a:gd name="connsiteY10" fmla="*/ 164268 h 910200"/>
                <a:gd name="connsiteX11" fmla="*/ 329550 w 337337"/>
                <a:gd name="connsiteY11" fmla="*/ 910200 h 910200"/>
                <a:gd name="connsiteX12" fmla="*/ 337338 w 337337"/>
                <a:gd name="connsiteY12" fmla="*/ 908076 h 910200"/>
                <a:gd name="connsiteX13" fmla="*/ 253800 w 337337"/>
                <a:gd name="connsiteY13" fmla="*/ 0 h 910200"/>
                <a:gd name="connsiteX14" fmla="*/ 0 w 337337"/>
                <a:gd name="connsiteY14" fmla="*/ 161082 h 91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7337" h="910200">
                  <a:moveTo>
                    <a:pt x="0" y="161082"/>
                  </a:moveTo>
                  <a:lnTo>
                    <a:pt x="1416" y="164268"/>
                  </a:lnTo>
                  <a:lnTo>
                    <a:pt x="4956" y="162498"/>
                  </a:lnTo>
                  <a:lnTo>
                    <a:pt x="8495" y="161082"/>
                  </a:lnTo>
                  <a:lnTo>
                    <a:pt x="9911" y="164268"/>
                  </a:lnTo>
                  <a:lnTo>
                    <a:pt x="246720" y="13453"/>
                  </a:lnTo>
                  <a:lnTo>
                    <a:pt x="327072" y="884711"/>
                  </a:lnTo>
                  <a:lnTo>
                    <a:pt x="9911" y="164268"/>
                  </a:lnTo>
                  <a:lnTo>
                    <a:pt x="7079" y="166038"/>
                  </a:lnTo>
                  <a:lnTo>
                    <a:pt x="4956" y="162498"/>
                  </a:lnTo>
                  <a:lnTo>
                    <a:pt x="1416" y="164268"/>
                  </a:lnTo>
                  <a:lnTo>
                    <a:pt x="329550" y="910200"/>
                  </a:lnTo>
                  <a:lnTo>
                    <a:pt x="337338" y="908076"/>
                  </a:lnTo>
                  <a:lnTo>
                    <a:pt x="253800" y="0"/>
                  </a:lnTo>
                  <a:lnTo>
                    <a:pt x="0" y="16108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09" name="Freihandform 345">
              <a:extLst>
                <a:ext uri="{FF2B5EF4-FFF2-40B4-BE49-F238E27FC236}">
                  <a16:creationId xmlns:a16="http://schemas.microsoft.com/office/drawing/2014/main" id="{35C13ADA-6716-465E-8F1A-E56F154D534B}"/>
                </a:ext>
              </a:extLst>
            </p:cNvPr>
            <p:cNvSpPr/>
            <p:nvPr/>
          </p:nvSpPr>
          <p:spPr>
            <a:xfrm>
              <a:off x="139427" y="3058010"/>
              <a:ext cx="4601" cy="4602"/>
            </a:xfrm>
            <a:custGeom>
              <a:avLst/>
              <a:gdLst>
                <a:gd name="connsiteX0" fmla="*/ 0 w 4601"/>
                <a:gd name="connsiteY0" fmla="*/ 354 h 4602"/>
                <a:gd name="connsiteX1" fmla="*/ 354 w 4601"/>
                <a:gd name="connsiteY1" fmla="*/ 4602 h 4602"/>
                <a:gd name="connsiteX2" fmla="*/ 4602 w 4601"/>
                <a:gd name="connsiteY2" fmla="*/ 3894 h 4602"/>
                <a:gd name="connsiteX3" fmla="*/ 4248 w 4601"/>
                <a:gd name="connsiteY3" fmla="*/ 0 h 4602"/>
                <a:gd name="connsiteX4" fmla="*/ 0 w 4601"/>
                <a:gd name="connsiteY4" fmla="*/ 354 h 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602">
                  <a:moveTo>
                    <a:pt x="0" y="354"/>
                  </a:moveTo>
                  <a:lnTo>
                    <a:pt x="354" y="4602"/>
                  </a:lnTo>
                  <a:lnTo>
                    <a:pt x="4602" y="3894"/>
                  </a:lnTo>
                  <a:lnTo>
                    <a:pt x="4248" y="0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16" name="Freihandform 346">
              <a:extLst>
                <a:ext uri="{FF2B5EF4-FFF2-40B4-BE49-F238E27FC236}">
                  <a16:creationId xmlns:a16="http://schemas.microsoft.com/office/drawing/2014/main" id="{E66DDB8D-B7AD-4474-9A05-164735BF864A}"/>
                </a:ext>
              </a:extLst>
            </p:cNvPr>
            <p:cNvSpPr/>
            <p:nvPr/>
          </p:nvSpPr>
          <p:spPr>
            <a:xfrm>
              <a:off x="56243" y="2157015"/>
              <a:ext cx="30087" cy="13452"/>
            </a:xfrm>
            <a:custGeom>
              <a:avLst/>
              <a:gdLst>
                <a:gd name="connsiteX0" fmla="*/ 708 w 30087"/>
                <a:gd name="connsiteY0" fmla="*/ 3540 h 13452"/>
                <a:gd name="connsiteX1" fmla="*/ 0 w 30087"/>
                <a:gd name="connsiteY1" fmla="*/ 7435 h 13452"/>
                <a:gd name="connsiteX2" fmla="*/ 30088 w 30087"/>
                <a:gd name="connsiteY2" fmla="*/ 13453 h 13452"/>
                <a:gd name="connsiteX3" fmla="*/ 2478 w 30087"/>
                <a:gd name="connsiteY3" fmla="*/ 0 h 13452"/>
                <a:gd name="connsiteX4" fmla="*/ 708 w 30087"/>
                <a:gd name="connsiteY4" fmla="*/ 3540 h 13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87" h="13452">
                  <a:moveTo>
                    <a:pt x="708" y="3540"/>
                  </a:moveTo>
                  <a:lnTo>
                    <a:pt x="0" y="7435"/>
                  </a:lnTo>
                  <a:lnTo>
                    <a:pt x="30088" y="13453"/>
                  </a:lnTo>
                  <a:lnTo>
                    <a:pt x="2478" y="0"/>
                  </a:lnTo>
                  <a:lnTo>
                    <a:pt x="708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17" name="Freihandform 347">
              <a:extLst>
                <a:ext uri="{FF2B5EF4-FFF2-40B4-BE49-F238E27FC236}">
                  <a16:creationId xmlns:a16="http://schemas.microsoft.com/office/drawing/2014/main" id="{F47493AC-E946-4418-A34F-76ED51B92419}"/>
                </a:ext>
              </a:extLst>
            </p:cNvPr>
            <p:cNvSpPr/>
            <p:nvPr/>
          </p:nvSpPr>
          <p:spPr>
            <a:xfrm>
              <a:off x="-103752" y="4645107"/>
              <a:ext cx="4247" cy="4602"/>
            </a:xfrm>
            <a:custGeom>
              <a:avLst/>
              <a:gdLst>
                <a:gd name="connsiteX0" fmla="*/ 354 w 4247"/>
                <a:gd name="connsiteY0" fmla="*/ 0 h 4602"/>
                <a:gd name="connsiteX1" fmla="*/ 0 w 4247"/>
                <a:gd name="connsiteY1" fmla="*/ 3894 h 4602"/>
                <a:gd name="connsiteX2" fmla="*/ 3894 w 4247"/>
                <a:gd name="connsiteY2" fmla="*/ 4603 h 4602"/>
                <a:gd name="connsiteX3" fmla="*/ 4248 w 4247"/>
                <a:gd name="connsiteY3" fmla="*/ 354 h 4602"/>
                <a:gd name="connsiteX4" fmla="*/ 354 w 4247"/>
                <a:gd name="connsiteY4" fmla="*/ 0 h 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602">
                  <a:moveTo>
                    <a:pt x="354" y="0"/>
                  </a:moveTo>
                  <a:lnTo>
                    <a:pt x="0" y="3894"/>
                  </a:lnTo>
                  <a:lnTo>
                    <a:pt x="3894" y="4603"/>
                  </a:lnTo>
                  <a:lnTo>
                    <a:pt x="4248" y="354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18" name="Freihandform 348">
              <a:extLst>
                <a:ext uri="{FF2B5EF4-FFF2-40B4-BE49-F238E27FC236}">
                  <a16:creationId xmlns:a16="http://schemas.microsoft.com/office/drawing/2014/main" id="{7C475550-4D22-4F45-B1C9-8793DCE7D7B8}"/>
                </a:ext>
              </a:extLst>
            </p:cNvPr>
            <p:cNvSpPr/>
            <p:nvPr/>
          </p:nvSpPr>
          <p:spPr>
            <a:xfrm>
              <a:off x="139781" y="3060134"/>
              <a:ext cx="7079" cy="6372"/>
            </a:xfrm>
            <a:custGeom>
              <a:avLst/>
              <a:gdLst>
                <a:gd name="connsiteX0" fmla="*/ 0 w 7079"/>
                <a:gd name="connsiteY0" fmla="*/ 2478 h 6372"/>
                <a:gd name="connsiteX1" fmla="*/ 708 w 7079"/>
                <a:gd name="connsiteY1" fmla="*/ 6372 h 6372"/>
                <a:gd name="connsiteX2" fmla="*/ 7079 w 7079"/>
                <a:gd name="connsiteY2" fmla="*/ 5310 h 6372"/>
                <a:gd name="connsiteX3" fmla="*/ 3540 w 7079"/>
                <a:gd name="connsiteY3" fmla="*/ 0 h 6372"/>
                <a:gd name="connsiteX4" fmla="*/ 0 w 7079"/>
                <a:gd name="connsiteY4" fmla="*/ 2478 h 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79" h="6372">
                  <a:moveTo>
                    <a:pt x="0" y="2478"/>
                  </a:moveTo>
                  <a:lnTo>
                    <a:pt x="708" y="6372"/>
                  </a:lnTo>
                  <a:lnTo>
                    <a:pt x="7079" y="5310"/>
                  </a:lnTo>
                  <a:lnTo>
                    <a:pt x="3540" y="0"/>
                  </a:lnTo>
                  <a:lnTo>
                    <a:pt x="0" y="247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0" name="Freihandform 349">
              <a:extLst>
                <a:ext uri="{FF2B5EF4-FFF2-40B4-BE49-F238E27FC236}">
                  <a16:creationId xmlns:a16="http://schemas.microsoft.com/office/drawing/2014/main" id="{0CB230BD-A84C-4984-A5D4-7153BF979790}"/>
                </a:ext>
              </a:extLst>
            </p:cNvPr>
            <p:cNvSpPr/>
            <p:nvPr/>
          </p:nvSpPr>
          <p:spPr>
            <a:xfrm>
              <a:off x="-104460" y="4646170"/>
              <a:ext cx="10973" cy="7788"/>
            </a:xfrm>
            <a:custGeom>
              <a:avLst/>
              <a:gdLst>
                <a:gd name="connsiteX0" fmla="*/ 708 w 10973"/>
                <a:gd name="connsiteY0" fmla="*/ 2832 h 7788"/>
                <a:gd name="connsiteX1" fmla="*/ 0 w 10973"/>
                <a:gd name="connsiteY1" fmla="*/ 6727 h 7788"/>
                <a:gd name="connsiteX2" fmla="*/ 10973 w 10973"/>
                <a:gd name="connsiteY2" fmla="*/ 7788 h 7788"/>
                <a:gd name="connsiteX3" fmla="*/ 3186 w 10973"/>
                <a:gd name="connsiteY3" fmla="*/ 0 h 7788"/>
                <a:gd name="connsiteX4" fmla="*/ 708 w 10973"/>
                <a:gd name="connsiteY4" fmla="*/ 2832 h 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3" h="7788">
                  <a:moveTo>
                    <a:pt x="708" y="2832"/>
                  </a:moveTo>
                  <a:lnTo>
                    <a:pt x="0" y="6727"/>
                  </a:lnTo>
                  <a:lnTo>
                    <a:pt x="10973" y="7788"/>
                  </a:lnTo>
                  <a:lnTo>
                    <a:pt x="3186" y="0"/>
                  </a:lnTo>
                  <a:lnTo>
                    <a:pt x="708" y="283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grpSp>
          <p:nvGrpSpPr>
            <p:cNvPr id="221" name="Grafik 29">
              <a:extLst>
                <a:ext uri="{FF2B5EF4-FFF2-40B4-BE49-F238E27FC236}">
                  <a16:creationId xmlns:a16="http://schemas.microsoft.com/office/drawing/2014/main" id="{C9EC5CDD-4ED4-4E09-810E-35376C5145CC}"/>
                </a:ext>
              </a:extLst>
            </p:cNvPr>
            <p:cNvGrpSpPr/>
            <p:nvPr/>
          </p:nvGrpSpPr>
          <p:grpSpPr>
            <a:xfrm>
              <a:off x="-2051320" y="105435"/>
              <a:ext cx="3157098" cy="4926269"/>
              <a:chOff x="-2051320" y="105434"/>
              <a:chExt cx="3157098" cy="4926269"/>
            </a:xfrm>
            <a:solidFill>
              <a:srgbClr val="FFFFFF">
                <a:alpha val="13000"/>
              </a:srgbClr>
            </a:solidFill>
          </p:grpSpPr>
          <p:sp>
            <p:nvSpPr>
              <p:cNvPr id="459" name="Freihandform 551">
                <a:extLst>
                  <a:ext uri="{FF2B5EF4-FFF2-40B4-BE49-F238E27FC236}">
                    <a16:creationId xmlns:a16="http://schemas.microsoft.com/office/drawing/2014/main" id="{7D47DD6F-DE41-4B9A-A013-F3234AC98380}"/>
                  </a:ext>
                </a:extLst>
              </p:cNvPr>
              <p:cNvSpPr/>
              <p:nvPr/>
            </p:nvSpPr>
            <p:spPr>
              <a:xfrm>
                <a:off x="718175" y="2233483"/>
                <a:ext cx="10619" cy="7080"/>
              </a:xfrm>
              <a:custGeom>
                <a:avLst/>
                <a:gdLst>
                  <a:gd name="connsiteX0" fmla="*/ 8495 w 10619"/>
                  <a:gd name="connsiteY0" fmla="*/ 0 h 7080"/>
                  <a:gd name="connsiteX1" fmla="*/ 0 w 10619"/>
                  <a:gd name="connsiteY1" fmla="*/ 5310 h 7080"/>
                  <a:gd name="connsiteX2" fmla="*/ 9911 w 10619"/>
                  <a:gd name="connsiteY2" fmla="*/ 7081 h 7080"/>
                  <a:gd name="connsiteX3" fmla="*/ 10619 w 10619"/>
                  <a:gd name="connsiteY3" fmla="*/ 3186 h 7080"/>
                  <a:gd name="connsiteX4" fmla="*/ 8495 w 10619"/>
                  <a:gd name="connsiteY4" fmla="*/ 0 h 7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19" h="7080">
                    <a:moveTo>
                      <a:pt x="8495" y="0"/>
                    </a:moveTo>
                    <a:lnTo>
                      <a:pt x="0" y="5310"/>
                    </a:lnTo>
                    <a:lnTo>
                      <a:pt x="9911" y="7081"/>
                    </a:lnTo>
                    <a:lnTo>
                      <a:pt x="10619" y="3186"/>
                    </a:lnTo>
                    <a:lnTo>
                      <a:pt x="8495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0" name="Freihandform 552">
                <a:extLst>
                  <a:ext uri="{FF2B5EF4-FFF2-40B4-BE49-F238E27FC236}">
                    <a16:creationId xmlns:a16="http://schemas.microsoft.com/office/drawing/2014/main" id="{F682584C-D8F3-4901-A29D-9B4AF13926F3}"/>
                  </a:ext>
                </a:extLst>
              </p:cNvPr>
              <p:cNvSpPr/>
              <p:nvPr/>
            </p:nvSpPr>
            <p:spPr>
              <a:xfrm>
                <a:off x="-3932" y="2112406"/>
                <a:ext cx="743700" cy="441470"/>
              </a:xfrm>
              <a:custGeom>
                <a:avLst/>
                <a:gdLst>
                  <a:gd name="connsiteX0" fmla="*/ 732727 w 743700"/>
                  <a:gd name="connsiteY0" fmla="*/ 124263 h 441470"/>
                  <a:gd name="connsiteX1" fmla="*/ 732019 w 743700"/>
                  <a:gd name="connsiteY1" fmla="*/ 128157 h 441470"/>
                  <a:gd name="connsiteX2" fmla="*/ 722108 w 743700"/>
                  <a:gd name="connsiteY2" fmla="*/ 126387 h 441470"/>
                  <a:gd name="connsiteX3" fmla="*/ 243534 w 743700"/>
                  <a:gd name="connsiteY3" fmla="*/ 430496 h 441470"/>
                  <a:gd name="connsiteX4" fmla="*/ 14867 w 743700"/>
                  <a:gd name="connsiteY4" fmla="*/ 10621 h 441470"/>
                  <a:gd name="connsiteX5" fmla="*/ 722108 w 743700"/>
                  <a:gd name="connsiteY5" fmla="*/ 126387 h 441470"/>
                  <a:gd name="connsiteX6" fmla="*/ 730603 w 743700"/>
                  <a:gd name="connsiteY6" fmla="*/ 121077 h 441470"/>
                  <a:gd name="connsiteX7" fmla="*/ 732727 w 743700"/>
                  <a:gd name="connsiteY7" fmla="*/ 124263 h 441470"/>
                  <a:gd name="connsiteX8" fmla="*/ 733435 w 743700"/>
                  <a:gd name="connsiteY8" fmla="*/ 120369 h 441470"/>
                  <a:gd name="connsiteX9" fmla="*/ 0 w 743700"/>
                  <a:gd name="connsiteY9" fmla="*/ 0 h 441470"/>
                  <a:gd name="connsiteX10" fmla="*/ 240349 w 743700"/>
                  <a:gd name="connsiteY10" fmla="*/ 441470 h 441470"/>
                  <a:gd name="connsiteX11" fmla="*/ 743700 w 743700"/>
                  <a:gd name="connsiteY11" fmla="*/ 122139 h 441470"/>
                  <a:gd name="connsiteX12" fmla="*/ 733435 w 743700"/>
                  <a:gd name="connsiteY12" fmla="*/ 120369 h 441470"/>
                  <a:gd name="connsiteX13" fmla="*/ 732727 w 743700"/>
                  <a:gd name="connsiteY13" fmla="*/ 124263 h 441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43700" h="441470">
                    <a:moveTo>
                      <a:pt x="732727" y="124263"/>
                    </a:moveTo>
                    <a:lnTo>
                      <a:pt x="732019" y="128157"/>
                    </a:lnTo>
                    <a:lnTo>
                      <a:pt x="722108" y="126387"/>
                    </a:lnTo>
                    <a:lnTo>
                      <a:pt x="243534" y="430496"/>
                    </a:lnTo>
                    <a:lnTo>
                      <a:pt x="14867" y="10621"/>
                    </a:lnTo>
                    <a:lnTo>
                      <a:pt x="722108" y="126387"/>
                    </a:lnTo>
                    <a:lnTo>
                      <a:pt x="730603" y="121077"/>
                    </a:lnTo>
                    <a:lnTo>
                      <a:pt x="732727" y="124263"/>
                    </a:lnTo>
                    <a:lnTo>
                      <a:pt x="733435" y="120369"/>
                    </a:lnTo>
                    <a:lnTo>
                      <a:pt x="0" y="0"/>
                    </a:lnTo>
                    <a:lnTo>
                      <a:pt x="240349" y="441470"/>
                    </a:lnTo>
                    <a:lnTo>
                      <a:pt x="743700" y="122139"/>
                    </a:lnTo>
                    <a:lnTo>
                      <a:pt x="733435" y="120369"/>
                    </a:lnTo>
                    <a:lnTo>
                      <a:pt x="732727" y="124263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1" name="Freihandform 553">
                <a:extLst>
                  <a:ext uri="{FF2B5EF4-FFF2-40B4-BE49-F238E27FC236}">
                    <a16:creationId xmlns:a16="http://schemas.microsoft.com/office/drawing/2014/main" id="{65C391C5-030F-4392-A444-3AE101C778B1}"/>
                  </a:ext>
                </a:extLst>
              </p:cNvPr>
              <p:cNvSpPr/>
              <p:nvPr/>
            </p:nvSpPr>
            <p:spPr>
              <a:xfrm>
                <a:off x="-38" y="2117716"/>
                <a:ext cx="4955" cy="4956"/>
              </a:xfrm>
              <a:custGeom>
                <a:avLst/>
                <a:gdLst>
                  <a:gd name="connsiteX0" fmla="*/ 0 w 4955"/>
                  <a:gd name="connsiteY0" fmla="*/ 1770 h 4956"/>
                  <a:gd name="connsiteX1" fmla="*/ 1770 w 4955"/>
                  <a:gd name="connsiteY1" fmla="*/ 4956 h 4956"/>
                  <a:gd name="connsiteX2" fmla="*/ 4956 w 4955"/>
                  <a:gd name="connsiteY2" fmla="*/ 3540 h 4956"/>
                  <a:gd name="connsiteX3" fmla="*/ 3540 w 4955"/>
                  <a:gd name="connsiteY3" fmla="*/ 0 h 4956"/>
                  <a:gd name="connsiteX4" fmla="*/ 0 w 4955"/>
                  <a:gd name="connsiteY4" fmla="*/ 1770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5" h="4956">
                    <a:moveTo>
                      <a:pt x="0" y="1770"/>
                    </a:moveTo>
                    <a:lnTo>
                      <a:pt x="1770" y="4956"/>
                    </a:lnTo>
                    <a:lnTo>
                      <a:pt x="4956" y="3540"/>
                    </a:lnTo>
                    <a:lnTo>
                      <a:pt x="3540" y="0"/>
                    </a:lnTo>
                    <a:lnTo>
                      <a:pt x="0" y="177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2" name="Freihandform 554">
                <a:extLst>
                  <a:ext uri="{FF2B5EF4-FFF2-40B4-BE49-F238E27FC236}">
                    <a16:creationId xmlns:a16="http://schemas.microsoft.com/office/drawing/2014/main" id="{6B5C1B4F-6C3A-4B8B-A657-E1AAA6441F18}"/>
                  </a:ext>
                </a:extLst>
              </p:cNvPr>
              <p:cNvSpPr/>
              <p:nvPr/>
            </p:nvSpPr>
            <p:spPr>
              <a:xfrm>
                <a:off x="-1634692" y="2112760"/>
                <a:ext cx="1879250" cy="571043"/>
              </a:xfrm>
              <a:custGeom>
                <a:avLst/>
                <a:gdLst>
                  <a:gd name="connsiteX0" fmla="*/ 1637132 w 1879250"/>
                  <a:gd name="connsiteY0" fmla="*/ 1062 h 571043"/>
                  <a:gd name="connsiteX1" fmla="*/ 1638194 w 1879250"/>
                  <a:gd name="connsiteY1" fmla="*/ 4956 h 571043"/>
                  <a:gd name="connsiteX2" fmla="*/ 1639610 w 1879250"/>
                  <a:gd name="connsiteY2" fmla="*/ 8497 h 571043"/>
                  <a:gd name="connsiteX3" fmla="*/ 1636424 w 1879250"/>
                  <a:gd name="connsiteY3" fmla="*/ 9913 h 571043"/>
                  <a:gd name="connsiteX4" fmla="*/ 1866153 w 1879250"/>
                  <a:gd name="connsiteY4" fmla="*/ 431912 h 571043"/>
                  <a:gd name="connsiteX5" fmla="*/ 31150 w 1879250"/>
                  <a:gd name="connsiteY5" fmla="*/ 561131 h 571043"/>
                  <a:gd name="connsiteX6" fmla="*/ 1636424 w 1879250"/>
                  <a:gd name="connsiteY6" fmla="*/ 9913 h 571043"/>
                  <a:gd name="connsiteX7" fmla="*/ 1634654 w 1879250"/>
                  <a:gd name="connsiteY7" fmla="*/ 6727 h 571043"/>
                  <a:gd name="connsiteX8" fmla="*/ 1638194 w 1879250"/>
                  <a:gd name="connsiteY8" fmla="*/ 4956 h 571043"/>
                  <a:gd name="connsiteX9" fmla="*/ 1637132 w 1879250"/>
                  <a:gd name="connsiteY9" fmla="*/ 1062 h 571043"/>
                  <a:gd name="connsiteX10" fmla="*/ 0 w 1879250"/>
                  <a:gd name="connsiteY10" fmla="*/ 563255 h 571043"/>
                  <a:gd name="connsiteX11" fmla="*/ 1416 w 1879250"/>
                  <a:gd name="connsiteY11" fmla="*/ 571044 h 571043"/>
                  <a:gd name="connsiteX12" fmla="*/ 1879251 w 1879250"/>
                  <a:gd name="connsiteY12" fmla="*/ 439346 h 571043"/>
                  <a:gd name="connsiteX13" fmla="*/ 1640318 w 1879250"/>
                  <a:gd name="connsiteY13" fmla="*/ 0 h 571043"/>
                  <a:gd name="connsiteX14" fmla="*/ 1637132 w 1879250"/>
                  <a:gd name="connsiteY14" fmla="*/ 1062 h 571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79250" h="571043">
                    <a:moveTo>
                      <a:pt x="1637132" y="1062"/>
                    </a:moveTo>
                    <a:lnTo>
                      <a:pt x="1638194" y="4956"/>
                    </a:lnTo>
                    <a:lnTo>
                      <a:pt x="1639610" y="8497"/>
                    </a:lnTo>
                    <a:lnTo>
                      <a:pt x="1636424" y="9913"/>
                    </a:lnTo>
                    <a:lnTo>
                      <a:pt x="1866153" y="431912"/>
                    </a:lnTo>
                    <a:lnTo>
                      <a:pt x="31150" y="561131"/>
                    </a:lnTo>
                    <a:lnTo>
                      <a:pt x="1636424" y="9913"/>
                    </a:lnTo>
                    <a:lnTo>
                      <a:pt x="1634654" y="6727"/>
                    </a:lnTo>
                    <a:lnTo>
                      <a:pt x="1638194" y="4956"/>
                    </a:lnTo>
                    <a:lnTo>
                      <a:pt x="1637132" y="1062"/>
                    </a:lnTo>
                    <a:lnTo>
                      <a:pt x="0" y="563255"/>
                    </a:lnTo>
                    <a:lnTo>
                      <a:pt x="1416" y="571044"/>
                    </a:lnTo>
                    <a:lnTo>
                      <a:pt x="1879251" y="439346"/>
                    </a:lnTo>
                    <a:lnTo>
                      <a:pt x="1640318" y="0"/>
                    </a:lnTo>
                    <a:lnTo>
                      <a:pt x="1637132" y="106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3" name="Freihandform 555">
                <a:extLst>
                  <a:ext uri="{FF2B5EF4-FFF2-40B4-BE49-F238E27FC236}">
                    <a16:creationId xmlns:a16="http://schemas.microsoft.com/office/drawing/2014/main" id="{E0618F2D-3FDA-4072-A249-9079D1609DA5}"/>
                  </a:ext>
                </a:extLst>
              </p:cNvPr>
              <p:cNvSpPr/>
              <p:nvPr/>
            </p:nvSpPr>
            <p:spPr>
              <a:xfrm>
                <a:off x="-18445" y="2113822"/>
                <a:ext cx="21946" cy="7788"/>
              </a:xfrm>
              <a:custGeom>
                <a:avLst/>
                <a:gdLst>
                  <a:gd name="connsiteX0" fmla="*/ 20885 w 21946"/>
                  <a:gd name="connsiteY0" fmla="*/ 0 h 7788"/>
                  <a:gd name="connsiteX1" fmla="*/ 0 w 21946"/>
                  <a:gd name="connsiteY1" fmla="*/ 7435 h 7788"/>
                  <a:gd name="connsiteX2" fmla="*/ 21946 w 21946"/>
                  <a:gd name="connsiteY2" fmla="*/ 7789 h 7788"/>
                  <a:gd name="connsiteX3" fmla="*/ 21946 w 21946"/>
                  <a:gd name="connsiteY3" fmla="*/ 3894 h 7788"/>
                  <a:gd name="connsiteX4" fmla="*/ 20885 w 21946"/>
                  <a:gd name="connsiteY4" fmla="*/ 0 h 7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946" h="7788">
                    <a:moveTo>
                      <a:pt x="20885" y="0"/>
                    </a:moveTo>
                    <a:lnTo>
                      <a:pt x="0" y="7435"/>
                    </a:lnTo>
                    <a:lnTo>
                      <a:pt x="21946" y="7789"/>
                    </a:lnTo>
                    <a:lnTo>
                      <a:pt x="21946" y="3894"/>
                    </a:lnTo>
                    <a:lnTo>
                      <a:pt x="20885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4" name="Freihandform 556">
                <a:extLst>
                  <a:ext uri="{FF2B5EF4-FFF2-40B4-BE49-F238E27FC236}">
                    <a16:creationId xmlns:a16="http://schemas.microsoft.com/office/drawing/2014/main" id="{E5131580-956E-421C-B399-1DD69AAE329C}"/>
                  </a:ext>
                </a:extLst>
              </p:cNvPr>
              <p:cNvSpPr/>
              <p:nvPr/>
            </p:nvSpPr>
            <p:spPr>
              <a:xfrm>
                <a:off x="-1643187" y="2543963"/>
                <a:ext cx="1887037" cy="1367247"/>
              </a:xfrm>
              <a:custGeom>
                <a:avLst/>
                <a:gdLst>
                  <a:gd name="connsiteX0" fmla="*/ 1881020 w 1887037"/>
                  <a:gd name="connsiteY0" fmla="*/ 354 h 1367247"/>
                  <a:gd name="connsiteX1" fmla="*/ 1881020 w 1887037"/>
                  <a:gd name="connsiteY1" fmla="*/ 4249 h 1367247"/>
                  <a:gd name="connsiteX2" fmla="*/ 1881374 w 1887037"/>
                  <a:gd name="connsiteY2" fmla="*/ 8497 h 1367247"/>
                  <a:gd name="connsiteX3" fmla="*/ 1875003 w 1887037"/>
                  <a:gd name="connsiteY3" fmla="*/ 8851 h 1367247"/>
                  <a:gd name="connsiteX4" fmla="*/ 1354660 w 1887037"/>
                  <a:gd name="connsiteY4" fmla="*/ 1353441 h 1367247"/>
                  <a:gd name="connsiteX5" fmla="*/ 19115 w 1887037"/>
                  <a:gd name="connsiteY5" fmla="*/ 139486 h 1367247"/>
                  <a:gd name="connsiteX6" fmla="*/ 1875003 w 1887037"/>
                  <a:gd name="connsiteY6" fmla="*/ 8851 h 1367247"/>
                  <a:gd name="connsiteX7" fmla="*/ 1877481 w 1887037"/>
                  <a:gd name="connsiteY7" fmla="*/ 2832 h 1367247"/>
                  <a:gd name="connsiteX8" fmla="*/ 1881020 w 1887037"/>
                  <a:gd name="connsiteY8" fmla="*/ 4249 h 1367247"/>
                  <a:gd name="connsiteX9" fmla="*/ 1881020 w 1887037"/>
                  <a:gd name="connsiteY9" fmla="*/ 354 h 1367247"/>
                  <a:gd name="connsiteX10" fmla="*/ 0 w 1887037"/>
                  <a:gd name="connsiteY10" fmla="*/ 132760 h 1367247"/>
                  <a:gd name="connsiteX11" fmla="*/ 1357846 w 1887037"/>
                  <a:gd name="connsiteY11" fmla="*/ 1367248 h 1367247"/>
                  <a:gd name="connsiteX12" fmla="*/ 1887038 w 1887037"/>
                  <a:gd name="connsiteY12" fmla="*/ 0 h 1367247"/>
                  <a:gd name="connsiteX13" fmla="*/ 1881020 w 1887037"/>
                  <a:gd name="connsiteY13" fmla="*/ 354 h 1367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87037" h="1367247">
                    <a:moveTo>
                      <a:pt x="1881020" y="354"/>
                    </a:moveTo>
                    <a:lnTo>
                      <a:pt x="1881020" y="4249"/>
                    </a:lnTo>
                    <a:lnTo>
                      <a:pt x="1881374" y="8497"/>
                    </a:lnTo>
                    <a:lnTo>
                      <a:pt x="1875003" y="8851"/>
                    </a:lnTo>
                    <a:lnTo>
                      <a:pt x="1354660" y="1353441"/>
                    </a:lnTo>
                    <a:lnTo>
                      <a:pt x="19115" y="139486"/>
                    </a:lnTo>
                    <a:lnTo>
                      <a:pt x="1875003" y="8851"/>
                    </a:lnTo>
                    <a:lnTo>
                      <a:pt x="1877481" y="2832"/>
                    </a:lnTo>
                    <a:lnTo>
                      <a:pt x="1881020" y="4249"/>
                    </a:lnTo>
                    <a:lnTo>
                      <a:pt x="1881020" y="354"/>
                    </a:lnTo>
                    <a:lnTo>
                      <a:pt x="0" y="132760"/>
                    </a:lnTo>
                    <a:lnTo>
                      <a:pt x="1357846" y="1367248"/>
                    </a:lnTo>
                    <a:lnTo>
                      <a:pt x="1887038" y="0"/>
                    </a:lnTo>
                    <a:lnTo>
                      <a:pt x="1881020" y="35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5" name="Freihandform 557">
                <a:extLst>
                  <a:ext uri="{FF2B5EF4-FFF2-40B4-BE49-F238E27FC236}">
                    <a16:creationId xmlns:a16="http://schemas.microsoft.com/office/drawing/2014/main" id="{A2844FEC-30DC-4B26-8AAD-830D02CBA8E6}"/>
                  </a:ext>
                </a:extLst>
              </p:cNvPr>
              <p:cNvSpPr/>
              <p:nvPr/>
            </p:nvSpPr>
            <p:spPr>
              <a:xfrm>
                <a:off x="231814" y="2546796"/>
                <a:ext cx="6371" cy="6018"/>
              </a:xfrm>
              <a:custGeom>
                <a:avLst/>
                <a:gdLst>
                  <a:gd name="connsiteX0" fmla="*/ 2478 w 6371"/>
                  <a:gd name="connsiteY0" fmla="*/ 0 h 6018"/>
                  <a:gd name="connsiteX1" fmla="*/ 0 w 6371"/>
                  <a:gd name="connsiteY1" fmla="*/ 6018 h 6018"/>
                  <a:gd name="connsiteX2" fmla="*/ 6371 w 6371"/>
                  <a:gd name="connsiteY2" fmla="*/ 5664 h 6018"/>
                  <a:gd name="connsiteX3" fmla="*/ 6018 w 6371"/>
                  <a:gd name="connsiteY3" fmla="*/ 1416 h 6018"/>
                  <a:gd name="connsiteX4" fmla="*/ 2478 w 6371"/>
                  <a:gd name="connsiteY4" fmla="*/ 0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6018">
                    <a:moveTo>
                      <a:pt x="2478" y="0"/>
                    </a:moveTo>
                    <a:lnTo>
                      <a:pt x="0" y="6018"/>
                    </a:lnTo>
                    <a:lnTo>
                      <a:pt x="6371" y="5664"/>
                    </a:lnTo>
                    <a:lnTo>
                      <a:pt x="6018" y="1416"/>
                    </a:lnTo>
                    <a:lnTo>
                      <a:pt x="2478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6" name="Freihandform 558">
                <a:extLst>
                  <a:ext uri="{FF2B5EF4-FFF2-40B4-BE49-F238E27FC236}">
                    <a16:creationId xmlns:a16="http://schemas.microsoft.com/office/drawing/2014/main" id="{BA6B5F60-7F66-49EF-B64E-5C2480D2100A}"/>
                  </a:ext>
                </a:extLst>
              </p:cNvPr>
              <p:cNvSpPr/>
              <p:nvPr/>
            </p:nvSpPr>
            <p:spPr>
              <a:xfrm>
                <a:off x="-291359" y="3904131"/>
                <a:ext cx="6371" cy="7080"/>
              </a:xfrm>
              <a:custGeom>
                <a:avLst/>
                <a:gdLst>
                  <a:gd name="connsiteX0" fmla="*/ 354 w 6371"/>
                  <a:gd name="connsiteY0" fmla="*/ 0 h 7080"/>
                  <a:gd name="connsiteX1" fmla="*/ 0 w 6371"/>
                  <a:gd name="connsiteY1" fmla="*/ 7081 h 7080"/>
                  <a:gd name="connsiteX2" fmla="*/ 6371 w 6371"/>
                  <a:gd name="connsiteY2" fmla="*/ 3894 h 7080"/>
                  <a:gd name="connsiteX3" fmla="*/ 4602 w 6371"/>
                  <a:gd name="connsiteY3" fmla="*/ 354 h 7080"/>
                  <a:gd name="connsiteX4" fmla="*/ 354 w 6371"/>
                  <a:gd name="connsiteY4" fmla="*/ 0 h 7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7080">
                    <a:moveTo>
                      <a:pt x="354" y="0"/>
                    </a:moveTo>
                    <a:lnTo>
                      <a:pt x="0" y="7081"/>
                    </a:lnTo>
                    <a:lnTo>
                      <a:pt x="6371" y="3894"/>
                    </a:lnTo>
                    <a:lnTo>
                      <a:pt x="4602" y="354"/>
                    </a:lnTo>
                    <a:lnTo>
                      <a:pt x="354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7" name="Freihandform 559">
                <a:extLst>
                  <a:ext uri="{FF2B5EF4-FFF2-40B4-BE49-F238E27FC236}">
                    <a16:creationId xmlns:a16="http://schemas.microsoft.com/office/drawing/2014/main" id="{32E4C3DD-944F-4C31-BDCF-B0D036DADB88}"/>
                  </a:ext>
                </a:extLst>
              </p:cNvPr>
              <p:cNvSpPr/>
              <p:nvPr/>
            </p:nvSpPr>
            <p:spPr>
              <a:xfrm>
                <a:off x="-912230" y="3897404"/>
                <a:ext cx="629720" cy="1134298"/>
              </a:xfrm>
              <a:custGeom>
                <a:avLst/>
                <a:gdLst>
                  <a:gd name="connsiteX0" fmla="*/ 623349 w 629720"/>
                  <a:gd name="connsiteY0" fmla="*/ 3540 h 1134298"/>
                  <a:gd name="connsiteX1" fmla="*/ 625473 w 629720"/>
                  <a:gd name="connsiteY1" fmla="*/ 7081 h 1134298"/>
                  <a:gd name="connsiteX2" fmla="*/ 627243 w 629720"/>
                  <a:gd name="connsiteY2" fmla="*/ 10621 h 1134298"/>
                  <a:gd name="connsiteX3" fmla="*/ 620871 w 629720"/>
                  <a:gd name="connsiteY3" fmla="*/ 13807 h 1134298"/>
                  <a:gd name="connsiteX4" fmla="*/ 529900 w 629720"/>
                  <a:gd name="connsiteY4" fmla="*/ 1110579 h 1134298"/>
                  <a:gd name="connsiteX5" fmla="*/ 11681 w 629720"/>
                  <a:gd name="connsiteY5" fmla="*/ 333492 h 1134298"/>
                  <a:gd name="connsiteX6" fmla="*/ 620871 w 629720"/>
                  <a:gd name="connsiteY6" fmla="*/ 13807 h 1134298"/>
                  <a:gd name="connsiteX7" fmla="*/ 621225 w 629720"/>
                  <a:gd name="connsiteY7" fmla="*/ 6727 h 1134298"/>
                  <a:gd name="connsiteX8" fmla="*/ 625473 w 629720"/>
                  <a:gd name="connsiteY8" fmla="*/ 7081 h 1134298"/>
                  <a:gd name="connsiteX9" fmla="*/ 623349 w 629720"/>
                  <a:gd name="connsiteY9" fmla="*/ 3540 h 1134298"/>
                  <a:gd name="connsiteX10" fmla="*/ 0 w 629720"/>
                  <a:gd name="connsiteY10" fmla="*/ 330660 h 1134298"/>
                  <a:gd name="connsiteX11" fmla="*/ 535917 w 629720"/>
                  <a:gd name="connsiteY11" fmla="*/ 1134299 h 1134298"/>
                  <a:gd name="connsiteX12" fmla="*/ 629721 w 629720"/>
                  <a:gd name="connsiteY12" fmla="*/ 0 h 1134298"/>
                  <a:gd name="connsiteX13" fmla="*/ 623349 w 629720"/>
                  <a:gd name="connsiteY13" fmla="*/ 3540 h 113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9720" h="1134298">
                    <a:moveTo>
                      <a:pt x="623349" y="3540"/>
                    </a:moveTo>
                    <a:lnTo>
                      <a:pt x="625473" y="7081"/>
                    </a:lnTo>
                    <a:lnTo>
                      <a:pt x="627243" y="10621"/>
                    </a:lnTo>
                    <a:lnTo>
                      <a:pt x="620871" y="13807"/>
                    </a:lnTo>
                    <a:lnTo>
                      <a:pt x="529900" y="1110579"/>
                    </a:lnTo>
                    <a:lnTo>
                      <a:pt x="11681" y="333492"/>
                    </a:lnTo>
                    <a:lnTo>
                      <a:pt x="620871" y="13807"/>
                    </a:lnTo>
                    <a:lnTo>
                      <a:pt x="621225" y="6727"/>
                    </a:lnTo>
                    <a:lnTo>
                      <a:pt x="625473" y="7081"/>
                    </a:lnTo>
                    <a:lnTo>
                      <a:pt x="623349" y="3540"/>
                    </a:lnTo>
                    <a:lnTo>
                      <a:pt x="0" y="330660"/>
                    </a:lnTo>
                    <a:lnTo>
                      <a:pt x="535917" y="1134299"/>
                    </a:lnTo>
                    <a:lnTo>
                      <a:pt x="629721" y="0"/>
                    </a:lnTo>
                    <a:lnTo>
                      <a:pt x="623349" y="354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8" name="Freihandform 560">
                <a:extLst>
                  <a:ext uri="{FF2B5EF4-FFF2-40B4-BE49-F238E27FC236}">
                    <a16:creationId xmlns:a16="http://schemas.microsoft.com/office/drawing/2014/main" id="{CDE615E4-FDD2-411E-AB20-80A4D75B2A2D}"/>
                  </a:ext>
                </a:extLst>
              </p:cNvPr>
              <p:cNvSpPr/>
              <p:nvPr/>
            </p:nvSpPr>
            <p:spPr>
              <a:xfrm>
                <a:off x="-2051320" y="105434"/>
                <a:ext cx="422999" cy="725398"/>
              </a:xfrm>
              <a:custGeom>
                <a:avLst/>
                <a:gdLst>
                  <a:gd name="connsiteX0" fmla="*/ 414504 w 422999"/>
                  <a:gd name="connsiteY0" fmla="*/ 0 h 725398"/>
                  <a:gd name="connsiteX1" fmla="*/ 181589 w 422999"/>
                  <a:gd name="connsiteY1" fmla="*/ 700971 h 725398"/>
                  <a:gd name="connsiteX2" fmla="*/ 0 w 422999"/>
                  <a:gd name="connsiteY2" fmla="*/ 182677 h 725398"/>
                  <a:gd name="connsiteX3" fmla="*/ 0 w 422999"/>
                  <a:gd name="connsiteY3" fmla="*/ 206751 h 725398"/>
                  <a:gd name="connsiteX4" fmla="*/ 181943 w 422999"/>
                  <a:gd name="connsiteY4" fmla="*/ 725399 h 725398"/>
                  <a:gd name="connsiteX5" fmla="*/ 423000 w 422999"/>
                  <a:gd name="connsiteY5" fmla="*/ 0 h 725398"/>
                  <a:gd name="connsiteX6" fmla="*/ 414504 w 422999"/>
                  <a:gd name="connsiteY6" fmla="*/ 0 h 725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2999" h="725398">
                    <a:moveTo>
                      <a:pt x="414504" y="0"/>
                    </a:moveTo>
                    <a:lnTo>
                      <a:pt x="181589" y="700971"/>
                    </a:lnTo>
                    <a:lnTo>
                      <a:pt x="0" y="182677"/>
                    </a:lnTo>
                    <a:lnTo>
                      <a:pt x="0" y="206751"/>
                    </a:lnTo>
                    <a:lnTo>
                      <a:pt x="181943" y="725399"/>
                    </a:lnTo>
                    <a:lnTo>
                      <a:pt x="423000" y="0"/>
                    </a:lnTo>
                    <a:lnTo>
                      <a:pt x="414504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69" name="Freihandform 561">
                <a:extLst>
                  <a:ext uri="{FF2B5EF4-FFF2-40B4-BE49-F238E27FC236}">
                    <a16:creationId xmlns:a16="http://schemas.microsoft.com/office/drawing/2014/main" id="{48446788-04E8-43AE-BA7C-9815E42A68BF}"/>
                  </a:ext>
                </a:extLst>
              </p:cNvPr>
              <p:cNvSpPr/>
              <p:nvPr/>
            </p:nvSpPr>
            <p:spPr>
              <a:xfrm>
                <a:off x="-25170" y="2112760"/>
                <a:ext cx="29025" cy="8496"/>
              </a:xfrm>
              <a:custGeom>
                <a:avLst/>
                <a:gdLst>
                  <a:gd name="connsiteX0" fmla="*/ 29026 w 29025"/>
                  <a:gd name="connsiteY0" fmla="*/ 1062 h 8496"/>
                  <a:gd name="connsiteX1" fmla="*/ 0 w 29025"/>
                  <a:gd name="connsiteY1" fmla="*/ 0 h 8496"/>
                  <a:gd name="connsiteX2" fmla="*/ 27610 w 29025"/>
                  <a:gd name="connsiteY2" fmla="*/ 8497 h 8496"/>
                  <a:gd name="connsiteX3" fmla="*/ 28672 w 29025"/>
                  <a:gd name="connsiteY3" fmla="*/ 4956 h 8496"/>
                  <a:gd name="connsiteX4" fmla="*/ 29026 w 29025"/>
                  <a:gd name="connsiteY4" fmla="*/ 1062 h 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25" h="8496">
                    <a:moveTo>
                      <a:pt x="29026" y="1062"/>
                    </a:moveTo>
                    <a:lnTo>
                      <a:pt x="0" y="0"/>
                    </a:lnTo>
                    <a:lnTo>
                      <a:pt x="27610" y="8497"/>
                    </a:lnTo>
                    <a:lnTo>
                      <a:pt x="28672" y="4956"/>
                    </a:lnTo>
                    <a:lnTo>
                      <a:pt x="29026" y="106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0" name="Freihandform 562">
                <a:extLst>
                  <a:ext uri="{FF2B5EF4-FFF2-40B4-BE49-F238E27FC236}">
                    <a16:creationId xmlns:a16="http://schemas.microsoft.com/office/drawing/2014/main" id="{71D46971-8A08-457A-BE2D-52AE691D5460}"/>
                  </a:ext>
                </a:extLst>
              </p:cNvPr>
              <p:cNvSpPr/>
              <p:nvPr/>
            </p:nvSpPr>
            <p:spPr>
              <a:xfrm>
                <a:off x="-2051320" y="1466309"/>
                <a:ext cx="187252" cy="604676"/>
              </a:xfrm>
              <a:custGeom>
                <a:avLst/>
                <a:gdLst>
                  <a:gd name="connsiteX0" fmla="*/ 184067 w 187252"/>
                  <a:gd name="connsiteY0" fmla="*/ 63725 h 604676"/>
                  <a:gd name="connsiteX1" fmla="*/ 0 w 187252"/>
                  <a:gd name="connsiteY1" fmla="*/ 0 h 604676"/>
                  <a:gd name="connsiteX2" fmla="*/ 0 w 187252"/>
                  <a:gd name="connsiteY2" fmla="*/ 8496 h 604676"/>
                  <a:gd name="connsiteX3" fmla="*/ 178049 w 187252"/>
                  <a:gd name="connsiteY3" fmla="*/ 70097 h 604676"/>
                  <a:gd name="connsiteX4" fmla="*/ 178757 w 187252"/>
                  <a:gd name="connsiteY4" fmla="*/ 66911 h 604676"/>
                  <a:gd name="connsiteX5" fmla="*/ 182651 w 187252"/>
                  <a:gd name="connsiteY5" fmla="*/ 67619 h 604676"/>
                  <a:gd name="connsiteX6" fmla="*/ 181235 w 187252"/>
                  <a:gd name="connsiteY6" fmla="*/ 71159 h 604676"/>
                  <a:gd name="connsiteX7" fmla="*/ 178049 w 187252"/>
                  <a:gd name="connsiteY7" fmla="*/ 70097 h 604676"/>
                  <a:gd name="connsiteX8" fmla="*/ 98759 w 187252"/>
                  <a:gd name="connsiteY8" fmla="*/ 588391 h 604676"/>
                  <a:gd name="connsiteX9" fmla="*/ 0 w 187252"/>
                  <a:gd name="connsiteY9" fmla="*/ 494574 h 604676"/>
                  <a:gd name="connsiteX10" fmla="*/ 0 w 187252"/>
                  <a:gd name="connsiteY10" fmla="*/ 505549 h 604676"/>
                  <a:gd name="connsiteX11" fmla="*/ 104068 w 187252"/>
                  <a:gd name="connsiteY11" fmla="*/ 604676 h 604676"/>
                  <a:gd name="connsiteX12" fmla="*/ 187252 w 187252"/>
                  <a:gd name="connsiteY12" fmla="*/ 64787 h 604676"/>
                  <a:gd name="connsiteX13" fmla="*/ 184067 w 187252"/>
                  <a:gd name="connsiteY13" fmla="*/ 63725 h 604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7252" h="604676">
                    <a:moveTo>
                      <a:pt x="184067" y="63725"/>
                    </a:moveTo>
                    <a:lnTo>
                      <a:pt x="0" y="0"/>
                    </a:lnTo>
                    <a:lnTo>
                      <a:pt x="0" y="8496"/>
                    </a:lnTo>
                    <a:lnTo>
                      <a:pt x="178049" y="70097"/>
                    </a:lnTo>
                    <a:lnTo>
                      <a:pt x="178757" y="66911"/>
                    </a:lnTo>
                    <a:lnTo>
                      <a:pt x="182651" y="67619"/>
                    </a:lnTo>
                    <a:lnTo>
                      <a:pt x="181235" y="71159"/>
                    </a:lnTo>
                    <a:lnTo>
                      <a:pt x="178049" y="70097"/>
                    </a:lnTo>
                    <a:lnTo>
                      <a:pt x="98759" y="588391"/>
                    </a:lnTo>
                    <a:lnTo>
                      <a:pt x="0" y="494574"/>
                    </a:lnTo>
                    <a:lnTo>
                      <a:pt x="0" y="505549"/>
                    </a:lnTo>
                    <a:lnTo>
                      <a:pt x="104068" y="604676"/>
                    </a:lnTo>
                    <a:lnTo>
                      <a:pt x="187252" y="64787"/>
                    </a:lnTo>
                    <a:lnTo>
                      <a:pt x="184067" y="63725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1" name="Freihandform 563">
                <a:extLst>
                  <a:ext uri="{FF2B5EF4-FFF2-40B4-BE49-F238E27FC236}">
                    <a16:creationId xmlns:a16="http://schemas.microsoft.com/office/drawing/2014/main" id="{CC7FD05E-DF88-41EF-B27A-18F4DDA30D1D}"/>
                  </a:ext>
                </a:extLst>
              </p:cNvPr>
              <p:cNvSpPr/>
              <p:nvPr/>
            </p:nvSpPr>
            <p:spPr>
              <a:xfrm>
                <a:off x="-1873271" y="1533220"/>
                <a:ext cx="4601" cy="4248"/>
              </a:xfrm>
              <a:custGeom>
                <a:avLst/>
                <a:gdLst>
                  <a:gd name="connsiteX0" fmla="*/ 708 w 4601"/>
                  <a:gd name="connsiteY0" fmla="*/ 0 h 4248"/>
                  <a:gd name="connsiteX1" fmla="*/ 0 w 4601"/>
                  <a:gd name="connsiteY1" fmla="*/ 3186 h 4248"/>
                  <a:gd name="connsiteX2" fmla="*/ 3186 w 4601"/>
                  <a:gd name="connsiteY2" fmla="*/ 4248 h 4248"/>
                  <a:gd name="connsiteX3" fmla="*/ 4602 w 4601"/>
                  <a:gd name="connsiteY3" fmla="*/ 708 h 4248"/>
                  <a:gd name="connsiteX4" fmla="*/ 708 w 4601"/>
                  <a:gd name="connsiteY4" fmla="*/ 0 h 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01" h="4248">
                    <a:moveTo>
                      <a:pt x="708" y="0"/>
                    </a:moveTo>
                    <a:lnTo>
                      <a:pt x="0" y="3186"/>
                    </a:lnTo>
                    <a:lnTo>
                      <a:pt x="3186" y="4248"/>
                    </a:lnTo>
                    <a:lnTo>
                      <a:pt x="4602" y="708"/>
                    </a:lnTo>
                    <a:lnTo>
                      <a:pt x="708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2" name="Freihandform 564">
                <a:extLst>
                  <a:ext uri="{FF2B5EF4-FFF2-40B4-BE49-F238E27FC236}">
                    <a16:creationId xmlns:a16="http://schemas.microsoft.com/office/drawing/2014/main" id="{5E1C3D28-A39C-4EA9-A3BE-8A88F2335052}"/>
                  </a:ext>
                </a:extLst>
              </p:cNvPr>
              <p:cNvSpPr/>
              <p:nvPr/>
            </p:nvSpPr>
            <p:spPr>
              <a:xfrm>
                <a:off x="-1966720" y="817734"/>
                <a:ext cx="101944" cy="717256"/>
              </a:xfrm>
              <a:custGeom>
                <a:avLst/>
                <a:gdLst>
                  <a:gd name="connsiteX0" fmla="*/ 93449 w 101944"/>
                  <a:gd name="connsiteY0" fmla="*/ 0 h 717256"/>
                  <a:gd name="connsiteX1" fmla="*/ 0 w 101944"/>
                  <a:gd name="connsiteY1" fmla="*/ 401111 h 717256"/>
                  <a:gd name="connsiteX2" fmla="*/ 94157 w 101944"/>
                  <a:gd name="connsiteY2" fmla="*/ 717256 h 717256"/>
                  <a:gd name="connsiteX3" fmla="*/ 101945 w 101944"/>
                  <a:gd name="connsiteY3" fmla="*/ 716194 h 717256"/>
                  <a:gd name="connsiteX4" fmla="*/ 98051 w 101944"/>
                  <a:gd name="connsiteY4" fmla="*/ 716194 h 717256"/>
                  <a:gd name="connsiteX5" fmla="*/ 93803 w 101944"/>
                  <a:gd name="connsiteY5" fmla="*/ 716194 h 717256"/>
                  <a:gd name="connsiteX6" fmla="*/ 93803 w 101944"/>
                  <a:gd name="connsiteY6" fmla="*/ 688226 h 717256"/>
                  <a:gd name="connsiteX7" fmla="*/ 8141 w 101944"/>
                  <a:gd name="connsiteY7" fmla="*/ 400757 h 717256"/>
                  <a:gd name="connsiteX8" fmla="*/ 93449 w 101944"/>
                  <a:gd name="connsiteY8" fmla="*/ 35403 h 717256"/>
                  <a:gd name="connsiteX9" fmla="*/ 93803 w 101944"/>
                  <a:gd name="connsiteY9" fmla="*/ 688226 h 717256"/>
                  <a:gd name="connsiteX10" fmla="*/ 101945 w 101944"/>
                  <a:gd name="connsiteY10" fmla="*/ 715132 h 717256"/>
                  <a:gd name="connsiteX11" fmla="*/ 98051 w 101944"/>
                  <a:gd name="connsiteY11" fmla="*/ 716194 h 717256"/>
                  <a:gd name="connsiteX12" fmla="*/ 101945 w 101944"/>
                  <a:gd name="connsiteY12" fmla="*/ 716194 h 717256"/>
                  <a:gd name="connsiteX13" fmla="*/ 101237 w 101944"/>
                  <a:gd name="connsiteY13" fmla="*/ 708 h 717256"/>
                  <a:gd name="connsiteX14" fmla="*/ 93449 w 101944"/>
                  <a:gd name="connsiteY14" fmla="*/ 0 h 717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1944" h="717256">
                    <a:moveTo>
                      <a:pt x="93449" y="0"/>
                    </a:moveTo>
                    <a:lnTo>
                      <a:pt x="0" y="401111"/>
                    </a:lnTo>
                    <a:lnTo>
                      <a:pt x="94157" y="717256"/>
                    </a:lnTo>
                    <a:lnTo>
                      <a:pt x="101945" y="716194"/>
                    </a:lnTo>
                    <a:lnTo>
                      <a:pt x="98051" y="716194"/>
                    </a:lnTo>
                    <a:lnTo>
                      <a:pt x="93803" y="716194"/>
                    </a:lnTo>
                    <a:lnTo>
                      <a:pt x="93803" y="688226"/>
                    </a:lnTo>
                    <a:lnTo>
                      <a:pt x="8141" y="400757"/>
                    </a:lnTo>
                    <a:lnTo>
                      <a:pt x="93449" y="35403"/>
                    </a:lnTo>
                    <a:lnTo>
                      <a:pt x="93803" y="688226"/>
                    </a:lnTo>
                    <a:lnTo>
                      <a:pt x="101945" y="715132"/>
                    </a:lnTo>
                    <a:lnTo>
                      <a:pt x="98051" y="716194"/>
                    </a:lnTo>
                    <a:lnTo>
                      <a:pt x="101945" y="716194"/>
                    </a:lnTo>
                    <a:lnTo>
                      <a:pt x="101237" y="708"/>
                    </a:lnTo>
                    <a:lnTo>
                      <a:pt x="93449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3" name="Freihandform 565">
                <a:extLst>
                  <a:ext uri="{FF2B5EF4-FFF2-40B4-BE49-F238E27FC236}">
                    <a16:creationId xmlns:a16="http://schemas.microsoft.com/office/drawing/2014/main" id="{9B87C450-70DF-45F5-9061-BE14D6346023}"/>
                  </a:ext>
                </a:extLst>
              </p:cNvPr>
              <p:cNvSpPr/>
              <p:nvPr/>
            </p:nvSpPr>
            <p:spPr>
              <a:xfrm>
                <a:off x="-1872917" y="1505960"/>
                <a:ext cx="8141" cy="27967"/>
              </a:xfrm>
              <a:custGeom>
                <a:avLst/>
                <a:gdLst>
                  <a:gd name="connsiteX0" fmla="*/ 0 w 8141"/>
                  <a:gd name="connsiteY0" fmla="*/ 27968 h 27967"/>
                  <a:gd name="connsiteX1" fmla="*/ 4248 w 8141"/>
                  <a:gd name="connsiteY1" fmla="*/ 27968 h 27967"/>
                  <a:gd name="connsiteX2" fmla="*/ 8141 w 8141"/>
                  <a:gd name="connsiteY2" fmla="*/ 26906 h 27967"/>
                  <a:gd name="connsiteX3" fmla="*/ 0 w 8141"/>
                  <a:gd name="connsiteY3" fmla="*/ 0 h 27967"/>
                  <a:gd name="connsiteX4" fmla="*/ 0 w 8141"/>
                  <a:gd name="connsiteY4" fmla="*/ 27968 h 27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41" h="27967">
                    <a:moveTo>
                      <a:pt x="0" y="27968"/>
                    </a:moveTo>
                    <a:lnTo>
                      <a:pt x="4248" y="27968"/>
                    </a:lnTo>
                    <a:lnTo>
                      <a:pt x="8141" y="26906"/>
                    </a:lnTo>
                    <a:lnTo>
                      <a:pt x="0" y="0"/>
                    </a:lnTo>
                    <a:lnTo>
                      <a:pt x="0" y="2796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4" name="Freihandform 566">
                <a:extLst>
                  <a:ext uri="{FF2B5EF4-FFF2-40B4-BE49-F238E27FC236}">
                    <a16:creationId xmlns:a16="http://schemas.microsoft.com/office/drawing/2014/main" id="{CF623E5B-8219-4BBD-9C60-EE5F3353190A}"/>
                  </a:ext>
                </a:extLst>
              </p:cNvPr>
              <p:cNvSpPr/>
              <p:nvPr/>
            </p:nvSpPr>
            <p:spPr>
              <a:xfrm>
                <a:off x="-2051320" y="1211410"/>
                <a:ext cx="188668" cy="328889"/>
              </a:xfrm>
              <a:custGeom>
                <a:avLst/>
                <a:gdLst>
                  <a:gd name="connsiteX0" fmla="*/ 0 w 188668"/>
                  <a:gd name="connsiteY0" fmla="*/ 7789 h 328889"/>
                  <a:gd name="connsiteX1" fmla="*/ 85662 w 188668"/>
                  <a:gd name="connsiteY1" fmla="*/ 10975 h 328889"/>
                  <a:gd name="connsiteX2" fmla="*/ 84954 w 188668"/>
                  <a:gd name="connsiteY2" fmla="*/ 8496 h 328889"/>
                  <a:gd name="connsiteX3" fmla="*/ 88848 w 188668"/>
                  <a:gd name="connsiteY3" fmla="*/ 7081 h 328889"/>
                  <a:gd name="connsiteX4" fmla="*/ 88494 w 188668"/>
                  <a:gd name="connsiteY4" fmla="*/ 11329 h 328889"/>
                  <a:gd name="connsiteX5" fmla="*/ 85662 w 188668"/>
                  <a:gd name="connsiteY5" fmla="*/ 10975 h 328889"/>
                  <a:gd name="connsiteX6" fmla="*/ 176633 w 188668"/>
                  <a:gd name="connsiteY6" fmla="*/ 316145 h 328889"/>
                  <a:gd name="connsiteX7" fmla="*/ 0 w 188668"/>
                  <a:gd name="connsiteY7" fmla="*/ 254899 h 328889"/>
                  <a:gd name="connsiteX8" fmla="*/ 0 w 188668"/>
                  <a:gd name="connsiteY8" fmla="*/ 263395 h 328889"/>
                  <a:gd name="connsiteX9" fmla="*/ 188668 w 188668"/>
                  <a:gd name="connsiteY9" fmla="*/ 328890 h 328889"/>
                  <a:gd name="connsiteX10" fmla="*/ 91679 w 188668"/>
                  <a:gd name="connsiteY10" fmla="*/ 3540 h 328889"/>
                  <a:gd name="connsiteX11" fmla="*/ 88848 w 188668"/>
                  <a:gd name="connsiteY11" fmla="*/ 3186 h 328889"/>
                  <a:gd name="connsiteX12" fmla="*/ 0 w 188668"/>
                  <a:gd name="connsiteY12" fmla="*/ 0 h 328889"/>
                  <a:gd name="connsiteX13" fmla="*/ 0 w 188668"/>
                  <a:gd name="connsiteY13" fmla="*/ 7789 h 328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8668" h="328889">
                    <a:moveTo>
                      <a:pt x="0" y="7789"/>
                    </a:moveTo>
                    <a:lnTo>
                      <a:pt x="85662" y="10975"/>
                    </a:lnTo>
                    <a:lnTo>
                      <a:pt x="84954" y="8496"/>
                    </a:lnTo>
                    <a:lnTo>
                      <a:pt x="88848" y="7081"/>
                    </a:lnTo>
                    <a:lnTo>
                      <a:pt x="88494" y="11329"/>
                    </a:lnTo>
                    <a:lnTo>
                      <a:pt x="85662" y="10975"/>
                    </a:lnTo>
                    <a:lnTo>
                      <a:pt x="176633" y="316145"/>
                    </a:lnTo>
                    <a:lnTo>
                      <a:pt x="0" y="254899"/>
                    </a:lnTo>
                    <a:lnTo>
                      <a:pt x="0" y="263395"/>
                    </a:lnTo>
                    <a:lnTo>
                      <a:pt x="188668" y="328890"/>
                    </a:lnTo>
                    <a:lnTo>
                      <a:pt x="91679" y="3540"/>
                    </a:lnTo>
                    <a:lnTo>
                      <a:pt x="88848" y="3186"/>
                    </a:lnTo>
                    <a:lnTo>
                      <a:pt x="0" y="0"/>
                    </a:lnTo>
                    <a:lnTo>
                      <a:pt x="0" y="7789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5" name="Freihandform 567">
                <a:extLst>
                  <a:ext uri="{FF2B5EF4-FFF2-40B4-BE49-F238E27FC236}">
                    <a16:creationId xmlns:a16="http://schemas.microsoft.com/office/drawing/2014/main" id="{84FEB4F8-D3F1-4232-ACE3-9407D8E49DE7}"/>
                  </a:ext>
                </a:extLst>
              </p:cNvPr>
              <p:cNvSpPr/>
              <p:nvPr/>
            </p:nvSpPr>
            <p:spPr>
              <a:xfrm>
                <a:off x="-384100" y="5019312"/>
                <a:ext cx="6017" cy="6018"/>
              </a:xfrm>
              <a:custGeom>
                <a:avLst/>
                <a:gdLst>
                  <a:gd name="connsiteX0" fmla="*/ 708 w 6017"/>
                  <a:gd name="connsiteY0" fmla="*/ 0 h 6018"/>
                  <a:gd name="connsiteX1" fmla="*/ 0 w 6017"/>
                  <a:gd name="connsiteY1" fmla="*/ 6018 h 6018"/>
                  <a:gd name="connsiteX2" fmla="*/ 6018 w 6017"/>
                  <a:gd name="connsiteY2" fmla="*/ 4248 h 6018"/>
                  <a:gd name="connsiteX3" fmla="*/ 4956 w 6017"/>
                  <a:gd name="connsiteY3" fmla="*/ 354 h 6018"/>
                  <a:gd name="connsiteX4" fmla="*/ 708 w 6017"/>
                  <a:gd name="connsiteY4" fmla="*/ 0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17" h="6018">
                    <a:moveTo>
                      <a:pt x="708" y="0"/>
                    </a:moveTo>
                    <a:lnTo>
                      <a:pt x="0" y="6018"/>
                    </a:lnTo>
                    <a:lnTo>
                      <a:pt x="6018" y="4248"/>
                    </a:lnTo>
                    <a:lnTo>
                      <a:pt x="4956" y="354"/>
                    </a:lnTo>
                    <a:lnTo>
                      <a:pt x="708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6" name="Freihandform 568">
                <a:extLst>
                  <a:ext uri="{FF2B5EF4-FFF2-40B4-BE49-F238E27FC236}">
                    <a16:creationId xmlns:a16="http://schemas.microsoft.com/office/drawing/2014/main" id="{8FB7D298-335E-4979-B7E3-06358E7FBEC1}"/>
                  </a:ext>
                </a:extLst>
              </p:cNvPr>
              <p:cNvSpPr/>
              <p:nvPr/>
            </p:nvSpPr>
            <p:spPr>
              <a:xfrm>
                <a:off x="-385516" y="5015772"/>
                <a:ext cx="6371" cy="6372"/>
              </a:xfrm>
              <a:custGeom>
                <a:avLst/>
                <a:gdLst>
                  <a:gd name="connsiteX0" fmla="*/ 0 w 6371"/>
                  <a:gd name="connsiteY0" fmla="*/ 1770 h 6372"/>
                  <a:gd name="connsiteX1" fmla="*/ 3186 w 6371"/>
                  <a:gd name="connsiteY1" fmla="*/ 6372 h 6372"/>
                  <a:gd name="connsiteX2" fmla="*/ 6371 w 6371"/>
                  <a:gd name="connsiteY2" fmla="*/ 3894 h 6372"/>
                  <a:gd name="connsiteX3" fmla="*/ 4956 w 6371"/>
                  <a:gd name="connsiteY3" fmla="*/ 0 h 6372"/>
                  <a:gd name="connsiteX4" fmla="*/ 0 w 6371"/>
                  <a:gd name="connsiteY4" fmla="*/ 1770 h 6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6372">
                    <a:moveTo>
                      <a:pt x="0" y="1770"/>
                    </a:moveTo>
                    <a:lnTo>
                      <a:pt x="3186" y="6372"/>
                    </a:lnTo>
                    <a:lnTo>
                      <a:pt x="6371" y="3894"/>
                    </a:lnTo>
                    <a:lnTo>
                      <a:pt x="4956" y="0"/>
                    </a:lnTo>
                    <a:lnTo>
                      <a:pt x="0" y="177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7" name="Freihandform 569">
                <a:extLst>
                  <a:ext uri="{FF2B5EF4-FFF2-40B4-BE49-F238E27FC236}">
                    <a16:creationId xmlns:a16="http://schemas.microsoft.com/office/drawing/2014/main" id="{F112DC95-16E3-4D80-B1F5-49FC19D53275}"/>
                  </a:ext>
                </a:extLst>
              </p:cNvPr>
              <p:cNvSpPr/>
              <p:nvPr/>
            </p:nvSpPr>
            <p:spPr>
              <a:xfrm>
                <a:off x="1090910" y="4084684"/>
                <a:ext cx="4955" cy="4956"/>
              </a:xfrm>
              <a:custGeom>
                <a:avLst/>
                <a:gdLst>
                  <a:gd name="connsiteX0" fmla="*/ 0 w 4955"/>
                  <a:gd name="connsiteY0" fmla="*/ 2832 h 4956"/>
                  <a:gd name="connsiteX1" fmla="*/ 2478 w 4955"/>
                  <a:gd name="connsiteY1" fmla="*/ 4956 h 4956"/>
                  <a:gd name="connsiteX2" fmla="*/ 4956 w 4955"/>
                  <a:gd name="connsiteY2" fmla="*/ 3540 h 4956"/>
                  <a:gd name="connsiteX3" fmla="*/ 2478 w 4955"/>
                  <a:gd name="connsiteY3" fmla="*/ 0 h 4956"/>
                  <a:gd name="connsiteX4" fmla="*/ 0 w 4955"/>
                  <a:gd name="connsiteY4" fmla="*/ 2832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5" h="4956">
                    <a:moveTo>
                      <a:pt x="0" y="2832"/>
                    </a:moveTo>
                    <a:lnTo>
                      <a:pt x="2478" y="4956"/>
                    </a:lnTo>
                    <a:lnTo>
                      <a:pt x="4956" y="3540"/>
                    </a:lnTo>
                    <a:lnTo>
                      <a:pt x="2478" y="0"/>
                    </a:lnTo>
                    <a:lnTo>
                      <a:pt x="0" y="283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8" name="Freihandform 570">
                <a:extLst>
                  <a:ext uri="{FF2B5EF4-FFF2-40B4-BE49-F238E27FC236}">
                    <a16:creationId xmlns:a16="http://schemas.microsoft.com/office/drawing/2014/main" id="{E149A2C0-CBAC-4EA6-9C9D-E13002796586}"/>
                  </a:ext>
                </a:extLst>
              </p:cNvPr>
              <p:cNvSpPr/>
              <p:nvPr/>
            </p:nvSpPr>
            <p:spPr>
              <a:xfrm>
                <a:off x="-1874687" y="817734"/>
                <a:ext cx="5663" cy="5310"/>
              </a:xfrm>
              <a:custGeom>
                <a:avLst/>
                <a:gdLst>
                  <a:gd name="connsiteX0" fmla="*/ 1416 w 5663"/>
                  <a:gd name="connsiteY0" fmla="*/ 0 h 5310"/>
                  <a:gd name="connsiteX1" fmla="*/ 0 w 5663"/>
                  <a:gd name="connsiteY1" fmla="*/ 5310 h 5310"/>
                  <a:gd name="connsiteX2" fmla="*/ 5664 w 5663"/>
                  <a:gd name="connsiteY2" fmla="*/ 4602 h 5310"/>
                  <a:gd name="connsiteX3" fmla="*/ 5310 w 5663"/>
                  <a:gd name="connsiteY3" fmla="*/ 708 h 5310"/>
                  <a:gd name="connsiteX4" fmla="*/ 1416 w 5663"/>
                  <a:gd name="connsiteY4" fmla="*/ 0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5310">
                    <a:moveTo>
                      <a:pt x="1416" y="0"/>
                    </a:moveTo>
                    <a:lnTo>
                      <a:pt x="0" y="5310"/>
                    </a:lnTo>
                    <a:lnTo>
                      <a:pt x="5664" y="4602"/>
                    </a:lnTo>
                    <a:lnTo>
                      <a:pt x="5310" y="708"/>
                    </a:lnTo>
                    <a:lnTo>
                      <a:pt x="1416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79" name="Freihandform 571">
                <a:extLst>
                  <a:ext uri="{FF2B5EF4-FFF2-40B4-BE49-F238E27FC236}">
                    <a16:creationId xmlns:a16="http://schemas.microsoft.com/office/drawing/2014/main" id="{60FBC45F-D758-419F-9902-C29290F3FC53}"/>
                  </a:ext>
                </a:extLst>
              </p:cNvPr>
              <p:cNvSpPr/>
              <p:nvPr/>
            </p:nvSpPr>
            <p:spPr>
              <a:xfrm>
                <a:off x="-2051320" y="814193"/>
                <a:ext cx="186898" cy="413148"/>
              </a:xfrm>
              <a:custGeom>
                <a:avLst/>
                <a:gdLst>
                  <a:gd name="connsiteX0" fmla="*/ 181589 w 186898"/>
                  <a:gd name="connsiteY0" fmla="*/ 354 h 413148"/>
                  <a:gd name="connsiteX1" fmla="*/ 0 w 186898"/>
                  <a:gd name="connsiteY1" fmla="*/ 19471 h 413148"/>
                  <a:gd name="connsiteX2" fmla="*/ 0 w 186898"/>
                  <a:gd name="connsiteY2" fmla="*/ 27614 h 413148"/>
                  <a:gd name="connsiteX3" fmla="*/ 176633 w 186898"/>
                  <a:gd name="connsiteY3" fmla="*/ 8851 h 413148"/>
                  <a:gd name="connsiteX4" fmla="*/ 178049 w 186898"/>
                  <a:gd name="connsiteY4" fmla="*/ 3540 h 413148"/>
                  <a:gd name="connsiteX5" fmla="*/ 181943 w 186898"/>
                  <a:gd name="connsiteY5" fmla="*/ 4248 h 413148"/>
                  <a:gd name="connsiteX6" fmla="*/ 182297 w 186898"/>
                  <a:gd name="connsiteY6" fmla="*/ 8143 h 413148"/>
                  <a:gd name="connsiteX7" fmla="*/ 176633 w 186898"/>
                  <a:gd name="connsiteY7" fmla="*/ 8851 h 413148"/>
                  <a:gd name="connsiteX8" fmla="*/ 86724 w 186898"/>
                  <a:gd name="connsiteY8" fmla="*/ 395801 h 413148"/>
                  <a:gd name="connsiteX9" fmla="*/ 0 w 186898"/>
                  <a:gd name="connsiteY9" fmla="*/ 289239 h 413148"/>
                  <a:gd name="connsiteX10" fmla="*/ 0 w 186898"/>
                  <a:gd name="connsiteY10" fmla="*/ 301630 h 413148"/>
                  <a:gd name="connsiteX11" fmla="*/ 90617 w 186898"/>
                  <a:gd name="connsiteY11" fmla="*/ 413148 h 413148"/>
                  <a:gd name="connsiteX12" fmla="*/ 186899 w 186898"/>
                  <a:gd name="connsiteY12" fmla="*/ 0 h 413148"/>
                  <a:gd name="connsiteX13" fmla="*/ 181589 w 186898"/>
                  <a:gd name="connsiteY13" fmla="*/ 354 h 413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6898" h="413148">
                    <a:moveTo>
                      <a:pt x="181589" y="354"/>
                    </a:moveTo>
                    <a:lnTo>
                      <a:pt x="0" y="19471"/>
                    </a:lnTo>
                    <a:lnTo>
                      <a:pt x="0" y="27614"/>
                    </a:lnTo>
                    <a:lnTo>
                      <a:pt x="176633" y="8851"/>
                    </a:lnTo>
                    <a:lnTo>
                      <a:pt x="178049" y="3540"/>
                    </a:lnTo>
                    <a:lnTo>
                      <a:pt x="181943" y="4248"/>
                    </a:lnTo>
                    <a:lnTo>
                      <a:pt x="182297" y="8143"/>
                    </a:lnTo>
                    <a:lnTo>
                      <a:pt x="176633" y="8851"/>
                    </a:lnTo>
                    <a:lnTo>
                      <a:pt x="86724" y="395801"/>
                    </a:lnTo>
                    <a:lnTo>
                      <a:pt x="0" y="289239"/>
                    </a:lnTo>
                    <a:lnTo>
                      <a:pt x="0" y="301630"/>
                    </a:lnTo>
                    <a:lnTo>
                      <a:pt x="90617" y="413148"/>
                    </a:lnTo>
                    <a:lnTo>
                      <a:pt x="186899" y="0"/>
                    </a:lnTo>
                    <a:lnTo>
                      <a:pt x="181589" y="35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0" name="Freihandform 572">
                <a:extLst>
                  <a:ext uri="{FF2B5EF4-FFF2-40B4-BE49-F238E27FC236}">
                    <a16:creationId xmlns:a16="http://schemas.microsoft.com/office/drawing/2014/main" id="{5A3A5A8A-9C7C-44E5-80B4-18836B486E0C}"/>
                  </a:ext>
                </a:extLst>
              </p:cNvPr>
              <p:cNvSpPr/>
              <p:nvPr/>
            </p:nvSpPr>
            <p:spPr>
              <a:xfrm>
                <a:off x="-1875041" y="814547"/>
                <a:ext cx="5663" cy="5310"/>
              </a:xfrm>
              <a:custGeom>
                <a:avLst/>
                <a:gdLst>
                  <a:gd name="connsiteX0" fmla="*/ 0 w 5663"/>
                  <a:gd name="connsiteY0" fmla="*/ 354 h 5310"/>
                  <a:gd name="connsiteX1" fmla="*/ 1770 w 5663"/>
                  <a:gd name="connsiteY1" fmla="*/ 5310 h 5310"/>
                  <a:gd name="connsiteX2" fmla="*/ 5664 w 5663"/>
                  <a:gd name="connsiteY2" fmla="*/ 3894 h 5310"/>
                  <a:gd name="connsiteX3" fmla="*/ 5310 w 5663"/>
                  <a:gd name="connsiteY3" fmla="*/ 0 h 5310"/>
                  <a:gd name="connsiteX4" fmla="*/ 0 w 5663"/>
                  <a:gd name="connsiteY4" fmla="*/ 354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5310">
                    <a:moveTo>
                      <a:pt x="0" y="354"/>
                    </a:moveTo>
                    <a:lnTo>
                      <a:pt x="1770" y="5310"/>
                    </a:lnTo>
                    <a:lnTo>
                      <a:pt x="5664" y="3894"/>
                    </a:lnTo>
                    <a:lnTo>
                      <a:pt x="5310" y="0"/>
                    </a:lnTo>
                    <a:lnTo>
                      <a:pt x="0" y="35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1" name="Freihandform 573">
                <a:extLst>
                  <a:ext uri="{FF2B5EF4-FFF2-40B4-BE49-F238E27FC236}">
                    <a16:creationId xmlns:a16="http://schemas.microsoft.com/office/drawing/2014/main" id="{FADF9A0D-639E-4D4E-A620-363515F9228A}"/>
                  </a:ext>
                </a:extLst>
              </p:cNvPr>
              <p:cNvSpPr/>
              <p:nvPr/>
            </p:nvSpPr>
            <p:spPr>
              <a:xfrm>
                <a:off x="-2051320" y="288111"/>
                <a:ext cx="187252" cy="553696"/>
              </a:xfrm>
              <a:custGeom>
                <a:avLst/>
                <a:gdLst>
                  <a:gd name="connsiteX0" fmla="*/ 0 w 187252"/>
                  <a:gd name="connsiteY0" fmla="*/ 24074 h 553696"/>
                  <a:gd name="connsiteX1" fmla="*/ 176279 w 187252"/>
                  <a:gd name="connsiteY1" fmla="*/ 526790 h 553696"/>
                  <a:gd name="connsiteX2" fmla="*/ 181589 w 187252"/>
                  <a:gd name="connsiteY2" fmla="*/ 526436 h 553696"/>
                  <a:gd name="connsiteX3" fmla="*/ 181943 w 187252"/>
                  <a:gd name="connsiteY3" fmla="*/ 530331 h 553696"/>
                  <a:gd name="connsiteX4" fmla="*/ 178049 w 187252"/>
                  <a:gd name="connsiteY4" fmla="*/ 531747 h 553696"/>
                  <a:gd name="connsiteX5" fmla="*/ 176279 w 187252"/>
                  <a:gd name="connsiteY5" fmla="*/ 526790 h 553696"/>
                  <a:gd name="connsiteX6" fmla="*/ 0 w 187252"/>
                  <a:gd name="connsiteY6" fmla="*/ 545554 h 553696"/>
                  <a:gd name="connsiteX7" fmla="*/ 0 w 187252"/>
                  <a:gd name="connsiteY7" fmla="*/ 553696 h 553696"/>
                  <a:gd name="connsiteX8" fmla="*/ 187252 w 187252"/>
                  <a:gd name="connsiteY8" fmla="*/ 533871 h 553696"/>
                  <a:gd name="connsiteX9" fmla="*/ 185483 w 187252"/>
                  <a:gd name="connsiteY9" fmla="*/ 528915 h 553696"/>
                  <a:gd name="connsiteX10" fmla="*/ 0 w 187252"/>
                  <a:gd name="connsiteY10" fmla="*/ 0 h 553696"/>
                  <a:gd name="connsiteX11" fmla="*/ 0 w 187252"/>
                  <a:gd name="connsiteY11" fmla="*/ 24074 h 553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7252" h="553696">
                    <a:moveTo>
                      <a:pt x="0" y="24074"/>
                    </a:moveTo>
                    <a:lnTo>
                      <a:pt x="176279" y="526790"/>
                    </a:lnTo>
                    <a:lnTo>
                      <a:pt x="181589" y="526436"/>
                    </a:lnTo>
                    <a:lnTo>
                      <a:pt x="181943" y="530331"/>
                    </a:lnTo>
                    <a:lnTo>
                      <a:pt x="178049" y="531747"/>
                    </a:lnTo>
                    <a:lnTo>
                      <a:pt x="176279" y="526790"/>
                    </a:lnTo>
                    <a:lnTo>
                      <a:pt x="0" y="545554"/>
                    </a:lnTo>
                    <a:lnTo>
                      <a:pt x="0" y="553696"/>
                    </a:lnTo>
                    <a:lnTo>
                      <a:pt x="187252" y="533871"/>
                    </a:lnTo>
                    <a:lnTo>
                      <a:pt x="185483" y="528915"/>
                    </a:lnTo>
                    <a:lnTo>
                      <a:pt x="0" y="0"/>
                    </a:lnTo>
                    <a:lnTo>
                      <a:pt x="0" y="2407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2" name="Freihandform 574">
                <a:extLst>
                  <a:ext uri="{FF2B5EF4-FFF2-40B4-BE49-F238E27FC236}">
                    <a16:creationId xmlns:a16="http://schemas.microsoft.com/office/drawing/2014/main" id="{20949761-E0BD-4615-BA63-28B217A89D6F}"/>
                  </a:ext>
                </a:extLst>
              </p:cNvPr>
              <p:cNvSpPr/>
              <p:nvPr/>
            </p:nvSpPr>
            <p:spPr>
              <a:xfrm>
                <a:off x="-1643541" y="2676369"/>
                <a:ext cx="9911" cy="7434"/>
              </a:xfrm>
              <a:custGeom>
                <a:avLst/>
                <a:gdLst>
                  <a:gd name="connsiteX0" fmla="*/ 8141 w 9911"/>
                  <a:gd name="connsiteY0" fmla="*/ 0 h 7434"/>
                  <a:gd name="connsiteX1" fmla="*/ 0 w 9911"/>
                  <a:gd name="connsiteY1" fmla="*/ 4603 h 7434"/>
                  <a:gd name="connsiteX2" fmla="*/ 8849 w 9911"/>
                  <a:gd name="connsiteY2" fmla="*/ 7434 h 7434"/>
                  <a:gd name="connsiteX3" fmla="*/ 9911 w 9911"/>
                  <a:gd name="connsiteY3" fmla="*/ 3540 h 7434"/>
                  <a:gd name="connsiteX4" fmla="*/ 8141 w 9911"/>
                  <a:gd name="connsiteY4" fmla="*/ 0 h 7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11" h="7434">
                    <a:moveTo>
                      <a:pt x="8141" y="0"/>
                    </a:moveTo>
                    <a:lnTo>
                      <a:pt x="0" y="4603"/>
                    </a:lnTo>
                    <a:lnTo>
                      <a:pt x="8849" y="7434"/>
                    </a:lnTo>
                    <a:lnTo>
                      <a:pt x="9911" y="3540"/>
                    </a:lnTo>
                    <a:lnTo>
                      <a:pt x="8141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3" name="Freihandform 575">
                <a:extLst>
                  <a:ext uri="{FF2B5EF4-FFF2-40B4-BE49-F238E27FC236}">
                    <a16:creationId xmlns:a16="http://schemas.microsoft.com/office/drawing/2014/main" id="{30A55B8D-6E6F-4416-983B-DCD183B3FF57}"/>
                  </a:ext>
                </a:extLst>
              </p:cNvPr>
              <p:cNvSpPr/>
              <p:nvPr/>
            </p:nvSpPr>
            <p:spPr>
              <a:xfrm>
                <a:off x="-2051320" y="2056470"/>
                <a:ext cx="425831" cy="630165"/>
              </a:xfrm>
              <a:custGeom>
                <a:avLst/>
                <a:gdLst>
                  <a:gd name="connsiteX0" fmla="*/ 0 w 425831"/>
                  <a:gd name="connsiteY0" fmla="*/ 100543 h 630165"/>
                  <a:gd name="connsiteX1" fmla="*/ 100175 w 425831"/>
                  <a:gd name="connsiteY1" fmla="*/ 12745 h 630165"/>
                  <a:gd name="connsiteX2" fmla="*/ 97697 w 425831"/>
                  <a:gd name="connsiteY2" fmla="*/ 8143 h 630165"/>
                  <a:gd name="connsiteX3" fmla="*/ 101237 w 425831"/>
                  <a:gd name="connsiteY3" fmla="*/ 6372 h 630165"/>
                  <a:gd name="connsiteX4" fmla="*/ 103715 w 425831"/>
                  <a:gd name="connsiteY4" fmla="*/ 9205 h 630165"/>
                  <a:gd name="connsiteX5" fmla="*/ 100175 w 425831"/>
                  <a:gd name="connsiteY5" fmla="*/ 12745 h 630165"/>
                  <a:gd name="connsiteX6" fmla="*/ 409548 w 425831"/>
                  <a:gd name="connsiteY6" fmla="*/ 616359 h 630165"/>
                  <a:gd name="connsiteX7" fmla="*/ 0 w 425831"/>
                  <a:gd name="connsiteY7" fmla="*/ 478643 h 630165"/>
                  <a:gd name="connsiteX8" fmla="*/ 0 w 425831"/>
                  <a:gd name="connsiteY8" fmla="*/ 487139 h 630165"/>
                  <a:gd name="connsiteX9" fmla="*/ 425831 w 425831"/>
                  <a:gd name="connsiteY9" fmla="*/ 630166 h 630165"/>
                  <a:gd name="connsiteX10" fmla="*/ 102653 w 425831"/>
                  <a:gd name="connsiteY10" fmla="*/ 0 h 630165"/>
                  <a:gd name="connsiteX11" fmla="*/ 98759 w 425831"/>
                  <a:gd name="connsiteY11" fmla="*/ 3186 h 630165"/>
                  <a:gd name="connsiteX12" fmla="*/ 0 w 425831"/>
                  <a:gd name="connsiteY12" fmla="*/ 89922 h 630165"/>
                  <a:gd name="connsiteX13" fmla="*/ 0 w 425831"/>
                  <a:gd name="connsiteY13" fmla="*/ 100543 h 630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5831" h="630165">
                    <a:moveTo>
                      <a:pt x="0" y="100543"/>
                    </a:moveTo>
                    <a:lnTo>
                      <a:pt x="100175" y="12745"/>
                    </a:lnTo>
                    <a:lnTo>
                      <a:pt x="97697" y="8143"/>
                    </a:lnTo>
                    <a:lnTo>
                      <a:pt x="101237" y="6372"/>
                    </a:lnTo>
                    <a:lnTo>
                      <a:pt x="103715" y="9205"/>
                    </a:lnTo>
                    <a:lnTo>
                      <a:pt x="100175" y="12745"/>
                    </a:lnTo>
                    <a:lnTo>
                      <a:pt x="409548" y="616359"/>
                    </a:lnTo>
                    <a:lnTo>
                      <a:pt x="0" y="478643"/>
                    </a:lnTo>
                    <a:lnTo>
                      <a:pt x="0" y="487139"/>
                    </a:lnTo>
                    <a:lnTo>
                      <a:pt x="425831" y="630166"/>
                    </a:lnTo>
                    <a:lnTo>
                      <a:pt x="102653" y="0"/>
                    </a:lnTo>
                    <a:lnTo>
                      <a:pt x="98759" y="3186"/>
                    </a:lnTo>
                    <a:lnTo>
                      <a:pt x="0" y="89922"/>
                    </a:lnTo>
                    <a:lnTo>
                      <a:pt x="0" y="100543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4" name="Freihandform 576">
                <a:extLst>
                  <a:ext uri="{FF2B5EF4-FFF2-40B4-BE49-F238E27FC236}">
                    <a16:creationId xmlns:a16="http://schemas.microsoft.com/office/drawing/2014/main" id="{09E8296E-48BC-4459-AED3-51445831E0E3}"/>
                  </a:ext>
                </a:extLst>
              </p:cNvPr>
              <p:cNvSpPr/>
              <p:nvPr/>
            </p:nvSpPr>
            <p:spPr>
              <a:xfrm>
                <a:off x="725255" y="2236669"/>
                <a:ext cx="5663" cy="6018"/>
              </a:xfrm>
              <a:custGeom>
                <a:avLst/>
                <a:gdLst>
                  <a:gd name="connsiteX0" fmla="*/ 0 w 5663"/>
                  <a:gd name="connsiteY0" fmla="*/ 1770 h 6018"/>
                  <a:gd name="connsiteX1" fmla="*/ 1770 w 5663"/>
                  <a:gd name="connsiteY1" fmla="*/ 6018 h 6018"/>
                  <a:gd name="connsiteX2" fmla="*/ 5664 w 5663"/>
                  <a:gd name="connsiteY2" fmla="*/ 3540 h 6018"/>
                  <a:gd name="connsiteX3" fmla="*/ 3540 w 5663"/>
                  <a:gd name="connsiteY3" fmla="*/ 0 h 6018"/>
                  <a:gd name="connsiteX4" fmla="*/ 0 w 5663"/>
                  <a:gd name="connsiteY4" fmla="*/ 1770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6018">
                    <a:moveTo>
                      <a:pt x="0" y="1770"/>
                    </a:moveTo>
                    <a:lnTo>
                      <a:pt x="1770" y="6018"/>
                    </a:lnTo>
                    <a:lnTo>
                      <a:pt x="5664" y="3540"/>
                    </a:lnTo>
                    <a:lnTo>
                      <a:pt x="3540" y="0"/>
                    </a:lnTo>
                    <a:lnTo>
                      <a:pt x="0" y="177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5" name="Freihandform 577">
                <a:extLst>
                  <a:ext uri="{FF2B5EF4-FFF2-40B4-BE49-F238E27FC236}">
                    <a16:creationId xmlns:a16="http://schemas.microsoft.com/office/drawing/2014/main" id="{7645A674-8EE9-42EA-A093-295D2CDDA39A}"/>
                  </a:ext>
                </a:extLst>
              </p:cNvPr>
              <p:cNvSpPr/>
              <p:nvPr/>
            </p:nvSpPr>
            <p:spPr>
              <a:xfrm>
                <a:off x="-1637170" y="2679909"/>
                <a:ext cx="5663" cy="5664"/>
              </a:xfrm>
              <a:custGeom>
                <a:avLst/>
                <a:gdLst>
                  <a:gd name="connsiteX0" fmla="*/ 0 w 5663"/>
                  <a:gd name="connsiteY0" fmla="*/ 1416 h 5664"/>
                  <a:gd name="connsiteX1" fmla="*/ 1416 w 5663"/>
                  <a:gd name="connsiteY1" fmla="*/ 5664 h 5664"/>
                  <a:gd name="connsiteX2" fmla="*/ 5664 w 5663"/>
                  <a:gd name="connsiteY2" fmla="*/ 3540 h 5664"/>
                  <a:gd name="connsiteX3" fmla="*/ 3540 w 5663"/>
                  <a:gd name="connsiteY3" fmla="*/ 0 h 5664"/>
                  <a:gd name="connsiteX4" fmla="*/ 0 w 5663"/>
                  <a:gd name="connsiteY4" fmla="*/ 1416 h 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5664">
                    <a:moveTo>
                      <a:pt x="0" y="1416"/>
                    </a:moveTo>
                    <a:lnTo>
                      <a:pt x="1416" y="5664"/>
                    </a:lnTo>
                    <a:lnTo>
                      <a:pt x="5664" y="3540"/>
                    </a:lnTo>
                    <a:lnTo>
                      <a:pt x="3540" y="0"/>
                    </a:lnTo>
                    <a:lnTo>
                      <a:pt x="0" y="141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6" name="Freihandform 578">
                <a:extLst>
                  <a:ext uri="{FF2B5EF4-FFF2-40B4-BE49-F238E27FC236}">
                    <a16:creationId xmlns:a16="http://schemas.microsoft.com/office/drawing/2014/main" id="{9C6C5AAE-EEFC-4291-9138-836BB03F6EC0}"/>
                  </a:ext>
                </a:extLst>
              </p:cNvPr>
              <p:cNvSpPr/>
              <p:nvPr/>
            </p:nvSpPr>
            <p:spPr>
              <a:xfrm>
                <a:off x="-295607" y="3900590"/>
                <a:ext cx="8849" cy="6726"/>
              </a:xfrm>
              <a:custGeom>
                <a:avLst/>
                <a:gdLst>
                  <a:gd name="connsiteX0" fmla="*/ 0 w 8849"/>
                  <a:gd name="connsiteY0" fmla="*/ 1416 h 6726"/>
                  <a:gd name="connsiteX1" fmla="*/ 6018 w 8849"/>
                  <a:gd name="connsiteY1" fmla="*/ 6726 h 6726"/>
                  <a:gd name="connsiteX2" fmla="*/ 8849 w 8849"/>
                  <a:gd name="connsiteY2" fmla="*/ 3894 h 6726"/>
                  <a:gd name="connsiteX3" fmla="*/ 7787 w 8849"/>
                  <a:gd name="connsiteY3" fmla="*/ 0 h 6726"/>
                  <a:gd name="connsiteX4" fmla="*/ 0 w 8849"/>
                  <a:gd name="connsiteY4" fmla="*/ 1416 h 6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49" h="6726">
                    <a:moveTo>
                      <a:pt x="0" y="1416"/>
                    </a:moveTo>
                    <a:lnTo>
                      <a:pt x="6018" y="6726"/>
                    </a:lnTo>
                    <a:lnTo>
                      <a:pt x="8849" y="3894"/>
                    </a:lnTo>
                    <a:lnTo>
                      <a:pt x="7787" y="0"/>
                    </a:lnTo>
                    <a:lnTo>
                      <a:pt x="0" y="141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7" name="Freihandform 579">
                <a:extLst>
                  <a:ext uri="{FF2B5EF4-FFF2-40B4-BE49-F238E27FC236}">
                    <a16:creationId xmlns:a16="http://schemas.microsoft.com/office/drawing/2014/main" id="{9B940205-2108-4C88-8A3A-ECB23806EA4C}"/>
                  </a:ext>
                </a:extLst>
              </p:cNvPr>
              <p:cNvSpPr/>
              <p:nvPr/>
            </p:nvSpPr>
            <p:spPr>
              <a:xfrm>
                <a:off x="-1637170" y="2676723"/>
                <a:ext cx="1358908" cy="1384240"/>
              </a:xfrm>
              <a:custGeom>
                <a:avLst/>
                <a:gdLst>
                  <a:gd name="connsiteX0" fmla="*/ 1350413 w 1358908"/>
                  <a:gd name="connsiteY0" fmla="*/ 1227762 h 1384240"/>
                  <a:gd name="connsiteX1" fmla="*/ 1347581 w 1358908"/>
                  <a:gd name="connsiteY1" fmla="*/ 1230594 h 1384240"/>
                  <a:gd name="connsiteX2" fmla="*/ 1341563 w 1358908"/>
                  <a:gd name="connsiteY2" fmla="*/ 1225283 h 1384240"/>
                  <a:gd name="connsiteX3" fmla="*/ 522466 w 1358908"/>
                  <a:gd name="connsiteY3" fmla="*/ 1375390 h 1384240"/>
                  <a:gd name="connsiteX4" fmla="*/ 13097 w 1358908"/>
                  <a:gd name="connsiteY4" fmla="*/ 17347 h 1384240"/>
                  <a:gd name="connsiteX5" fmla="*/ 1341563 w 1358908"/>
                  <a:gd name="connsiteY5" fmla="*/ 1225283 h 1384240"/>
                  <a:gd name="connsiteX6" fmla="*/ 1349351 w 1358908"/>
                  <a:gd name="connsiteY6" fmla="*/ 1223867 h 1384240"/>
                  <a:gd name="connsiteX7" fmla="*/ 1350413 w 1358908"/>
                  <a:gd name="connsiteY7" fmla="*/ 1227762 h 1384240"/>
                  <a:gd name="connsiteX8" fmla="*/ 1352890 w 1358908"/>
                  <a:gd name="connsiteY8" fmla="*/ 1224575 h 1384240"/>
                  <a:gd name="connsiteX9" fmla="*/ 6372 w 1358908"/>
                  <a:gd name="connsiteY9" fmla="*/ 0 h 1384240"/>
                  <a:gd name="connsiteX10" fmla="*/ 0 w 1358908"/>
                  <a:gd name="connsiteY10" fmla="*/ 4603 h 1384240"/>
                  <a:gd name="connsiteX11" fmla="*/ 517511 w 1358908"/>
                  <a:gd name="connsiteY11" fmla="*/ 1384241 h 1384240"/>
                  <a:gd name="connsiteX12" fmla="*/ 1358908 w 1358908"/>
                  <a:gd name="connsiteY12" fmla="*/ 1230240 h 1384240"/>
                  <a:gd name="connsiteX13" fmla="*/ 1352890 w 1358908"/>
                  <a:gd name="connsiteY13" fmla="*/ 1224575 h 1384240"/>
                  <a:gd name="connsiteX14" fmla="*/ 1350413 w 1358908"/>
                  <a:gd name="connsiteY14" fmla="*/ 1227762 h 1384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358908" h="1384240">
                    <a:moveTo>
                      <a:pt x="1350413" y="1227762"/>
                    </a:moveTo>
                    <a:lnTo>
                      <a:pt x="1347581" y="1230594"/>
                    </a:lnTo>
                    <a:lnTo>
                      <a:pt x="1341563" y="1225283"/>
                    </a:lnTo>
                    <a:lnTo>
                      <a:pt x="522466" y="1375390"/>
                    </a:lnTo>
                    <a:lnTo>
                      <a:pt x="13097" y="17347"/>
                    </a:lnTo>
                    <a:lnTo>
                      <a:pt x="1341563" y="1225283"/>
                    </a:lnTo>
                    <a:lnTo>
                      <a:pt x="1349351" y="1223867"/>
                    </a:lnTo>
                    <a:lnTo>
                      <a:pt x="1350413" y="1227762"/>
                    </a:lnTo>
                    <a:lnTo>
                      <a:pt x="1352890" y="1224575"/>
                    </a:lnTo>
                    <a:lnTo>
                      <a:pt x="6372" y="0"/>
                    </a:lnTo>
                    <a:lnTo>
                      <a:pt x="0" y="4603"/>
                    </a:lnTo>
                    <a:lnTo>
                      <a:pt x="517511" y="1384241"/>
                    </a:lnTo>
                    <a:lnTo>
                      <a:pt x="1358908" y="1230240"/>
                    </a:lnTo>
                    <a:lnTo>
                      <a:pt x="1352890" y="1224575"/>
                    </a:lnTo>
                    <a:lnTo>
                      <a:pt x="1350413" y="122776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8" name="Freihandform 580">
                <a:extLst>
                  <a:ext uri="{FF2B5EF4-FFF2-40B4-BE49-F238E27FC236}">
                    <a16:creationId xmlns:a16="http://schemas.microsoft.com/office/drawing/2014/main" id="{01735880-5ECC-4F9C-851A-E82696F9CB2E}"/>
                  </a:ext>
                </a:extLst>
              </p:cNvPr>
              <p:cNvSpPr/>
              <p:nvPr/>
            </p:nvSpPr>
            <p:spPr>
              <a:xfrm>
                <a:off x="-1126385" y="3900590"/>
                <a:ext cx="841397" cy="333846"/>
              </a:xfrm>
              <a:custGeom>
                <a:avLst/>
                <a:gdLst>
                  <a:gd name="connsiteX0" fmla="*/ 839627 w 841397"/>
                  <a:gd name="connsiteY0" fmla="*/ 3894 h 333846"/>
                  <a:gd name="connsiteX1" fmla="*/ 840335 w 841397"/>
                  <a:gd name="connsiteY1" fmla="*/ 7788 h 333846"/>
                  <a:gd name="connsiteX2" fmla="*/ 814141 w 841397"/>
                  <a:gd name="connsiteY2" fmla="*/ 12745 h 333846"/>
                  <a:gd name="connsiteX3" fmla="*/ 220526 w 841397"/>
                  <a:gd name="connsiteY3" fmla="*/ 324288 h 333846"/>
                  <a:gd name="connsiteX4" fmla="*/ 18407 w 841397"/>
                  <a:gd name="connsiteY4" fmla="*/ 158249 h 333846"/>
                  <a:gd name="connsiteX5" fmla="*/ 814141 w 841397"/>
                  <a:gd name="connsiteY5" fmla="*/ 12745 h 333846"/>
                  <a:gd name="connsiteX6" fmla="*/ 837504 w 841397"/>
                  <a:gd name="connsiteY6" fmla="*/ 354 h 333846"/>
                  <a:gd name="connsiteX7" fmla="*/ 839627 w 841397"/>
                  <a:gd name="connsiteY7" fmla="*/ 3894 h 333846"/>
                  <a:gd name="connsiteX8" fmla="*/ 838566 w 841397"/>
                  <a:gd name="connsiteY8" fmla="*/ 0 h 333846"/>
                  <a:gd name="connsiteX9" fmla="*/ 0 w 841397"/>
                  <a:gd name="connsiteY9" fmla="*/ 153647 h 333846"/>
                  <a:gd name="connsiteX10" fmla="*/ 219110 w 841397"/>
                  <a:gd name="connsiteY10" fmla="*/ 333846 h 333846"/>
                  <a:gd name="connsiteX11" fmla="*/ 841397 w 841397"/>
                  <a:gd name="connsiteY11" fmla="*/ 7434 h 333846"/>
                  <a:gd name="connsiteX12" fmla="*/ 838566 w 841397"/>
                  <a:gd name="connsiteY12" fmla="*/ 0 h 333846"/>
                  <a:gd name="connsiteX13" fmla="*/ 839627 w 841397"/>
                  <a:gd name="connsiteY13" fmla="*/ 3894 h 33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41397" h="333846">
                    <a:moveTo>
                      <a:pt x="839627" y="3894"/>
                    </a:moveTo>
                    <a:lnTo>
                      <a:pt x="840335" y="7788"/>
                    </a:lnTo>
                    <a:lnTo>
                      <a:pt x="814141" y="12745"/>
                    </a:lnTo>
                    <a:lnTo>
                      <a:pt x="220526" y="324288"/>
                    </a:lnTo>
                    <a:lnTo>
                      <a:pt x="18407" y="158249"/>
                    </a:lnTo>
                    <a:lnTo>
                      <a:pt x="814141" y="12745"/>
                    </a:lnTo>
                    <a:lnTo>
                      <a:pt x="837504" y="354"/>
                    </a:lnTo>
                    <a:lnTo>
                      <a:pt x="839627" y="3894"/>
                    </a:lnTo>
                    <a:lnTo>
                      <a:pt x="838566" y="0"/>
                    </a:lnTo>
                    <a:lnTo>
                      <a:pt x="0" y="153647"/>
                    </a:lnTo>
                    <a:lnTo>
                      <a:pt x="219110" y="333846"/>
                    </a:lnTo>
                    <a:lnTo>
                      <a:pt x="841397" y="7434"/>
                    </a:lnTo>
                    <a:lnTo>
                      <a:pt x="838566" y="0"/>
                    </a:lnTo>
                    <a:lnTo>
                      <a:pt x="839627" y="389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89" name="Freihandform 581">
                <a:extLst>
                  <a:ext uri="{FF2B5EF4-FFF2-40B4-BE49-F238E27FC236}">
                    <a16:creationId xmlns:a16="http://schemas.microsoft.com/office/drawing/2014/main" id="{C592755B-9E38-462A-BCCC-1F0A578ED702}"/>
                  </a:ext>
                </a:extLst>
              </p:cNvPr>
              <p:cNvSpPr/>
              <p:nvPr/>
            </p:nvSpPr>
            <p:spPr>
              <a:xfrm>
                <a:off x="-312244" y="3900944"/>
                <a:ext cx="26194" cy="12390"/>
              </a:xfrm>
              <a:custGeom>
                <a:avLst/>
                <a:gdLst>
                  <a:gd name="connsiteX0" fmla="*/ 23362 w 26194"/>
                  <a:gd name="connsiteY0" fmla="*/ 0 h 12390"/>
                  <a:gd name="connsiteX1" fmla="*/ 0 w 26194"/>
                  <a:gd name="connsiteY1" fmla="*/ 12391 h 12390"/>
                  <a:gd name="connsiteX2" fmla="*/ 26194 w 26194"/>
                  <a:gd name="connsiteY2" fmla="*/ 7434 h 12390"/>
                  <a:gd name="connsiteX3" fmla="*/ 25486 w 26194"/>
                  <a:gd name="connsiteY3" fmla="*/ 3540 h 12390"/>
                  <a:gd name="connsiteX4" fmla="*/ 23362 w 26194"/>
                  <a:gd name="connsiteY4" fmla="*/ 0 h 12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194" h="12390">
                    <a:moveTo>
                      <a:pt x="23362" y="0"/>
                    </a:moveTo>
                    <a:lnTo>
                      <a:pt x="0" y="12391"/>
                    </a:lnTo>
                    <a:lnTo>
                      <a:pt x="26194" y="7434"/>
                    </a:lnTo>
                    <a:lnTo>
                      <a:pt x="25486" y="3540"/>
                    </a:lnTo>
                    <a:lnTo>
                      <a:pt x="23362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0" name="Freihandform 582">
                <a:extLst>
                  <a:ext uri="{FF2B5EF4-FFF2-40B4-BE49-F238E27FC236}">
                    <a16:creationId xmlns:a16="http://schemas.microsoft.com/office/drawing/2014/main" id="{4A489B23-0E3C-4DAC-8350-2BB534C6D282}"/>
                  </a:ext>
                </a:extLst>
              </p:cNvPr>
              <p:cNvSpPr/>
              <p:nvPr/>
            </p:nvSpPr>
            <p:spPr>
              <a:xfrm>
                <a:off x="-911876" y="4227356"/>
                <a:ext cx="5309" cy="5310"/>
              </a:xfrm>
              <a:custGeom>
                <a:avLst/>
                <a:gdLst>
                  <a:gd name="connsiteX0" fmla="*/ 0 w 5309"/>
                  <a:gd name="connsiteY0" fmla="*/ 2832 h 5310"/>
                  <a:gd name="connsiteX1" fmla="*/ 2832 w 5309"/>
                  <a:gd name="connsiteY1" fmla="*/ 5310 h 5310"/>
                  <a:gd name="connsiteX2" fmla="*/ 5310 w 5309"/>
                  <a:gd name="connsiteY2" fmla="*/ 2124 h 5310"/>
                  <a:gd name="connsiteX3" fmla="*/ 2124 w 5309"/>
                  <a:gd name="connsiteY3" fmla="*/ 0 h 5310"/>
                  <a:gd name="connsiteX4" fmla="*/ 0 w 5309"/>
                  <a:gd name="connsiteY4" fmla="*/ 2832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09" h="5310">
                    <a:moveTo>
                      <a:pt x="0" y="2832"/>
                    </a:moveTo>
                    <a:lnTo>
                      <a:pt x="2832" y="5310"/>
                    </a:lnTo>
                    <a:lnTo>
                      <a:pt x="5310" y="2124"/>
                    </a:lnTo>
                    <a:lnTo>
                      <a:pt x="2124" y="0"/>
                    </a:lnTo>
                    <a:lnTo>
                      <a:pt x="0" y="283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1" name="Freihandform 583">
                <a:extLst>
                  <a:ext uri="{FF2B5EF4-FFF2-40B4-BE49-F238E27FC236}">
                    <a16:creationId xmlns:a16="http://schemas.microsoft.com/office/drawing/2014/main" id="{23EC4BEF-9D83-47CE-80D5-0C14A8C5A95E}"/>
                  </a:ext>
                </a:extLst>
              </p:cNvPr>
              <p:cNvSpPr/>
              <p:nvPr/>
            </p:nvSpPr>
            <p:spPr>
              <a:xfrm>
                <a:off x="-1129924" y="4052467"/>
                <a:ext cx="12743" cy="7434"/>
              </a:xfrm>
              <a:custGeom>
                <a:avLst/>
                <a:gdLst>
                  <a:gd name="connsiteX0" fmla="*/ 12389 w 12743"/>
                  <a:gd name="connsiteY0" fmla="*/ 0 h 7434"/>
                  <a:gd name="connsiteX1" fmla="*/ 0 w 12743"/>
                  <a:gd name="connsiteY1" fmla="*/ 708 h 7434"/>
                  <a:gd name="connsiteX2" fmla="*/ 10265 w 12743"/>
                  <a:gd name="connsiteY2" fmla="*/ 7435 h 7434"/>
                  <a:gd name="connsiteX3" fmla="*/ 12743 w 12743"/>
                  <a:gd name="connsiteY3" fmla="*/ 4249 h 7434"/>
                  <a:gd name="connsiteX4" fmla="*/ 12389 w 12743"/>
                  <a:gd name="connsiteY4" fmla="*/ 0 h 7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3" h="7434">
                    <a:moveTo>
                      <a:pt x="12389" y="0"/>
                    </a:moveTo>
                    <a:lnTo>
                      <a:pt x="0" y="708"/>
                    </a:lnTo>
                    <a:lnTo>
                      <a:pt x="10265" y="7435"/>
                    </a:lnTo>
                    <a:lnTo>
                      <a:pt x="12743" y="4249"/>
                    </a:lnTo>
                    <a:lnTo>
                      <a:pt x="12389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2" name="Freihandform 584">
                <a:extLst>
                  <a:ext uri="{FF2B5EF4-FFF2-40B4-BE49-F238E27FC236}">
                    <a16:creationId xmlns:a16="http://schemas.microsoft.com/office/drawing/2014/main" id="{58C8F0A3-99BB-4B3F-AE37-D7E33D0306C2}"/>
                  </a:ext>
                </a:extLst>
              </p:cNvPr>
              <p:cNvSpPr/>
              <p:nvPr/>
            </p:nvSpPr>
            <p:spPr>
              <a:xfrm>
                <a:off x="-1123553" y="4054946"/>
                <a:ext cx="6371" cy="6018"/>
              </a:xfrm>
              <a:custGeom>
                <a:avLst/>
                <a:gdLst>
                  <a:gd name="connsiteX0" fmla="*/ 2832 w 6371"/>
                  <a:gd name="connsiteY0" fmla="*/ 0 h 6018"/>
                  <a:gd name="connsiteX1" fmla="*/ 0 w 6371"/>
                  <a:gd name="connsiteY1" fmla="*/ 6018 h 6018"/>
                  <a:gd name="connsiteX2" fmla="*/ 6372 w 6371"/>
                  <a:gd name="connsiteY2" fmla="*/ 5664 h 6018"/>
                  <a:gd name="connsiteX3" fmla="*/ 6372 w 6371"/>
                  <a:gd name="connsiteY3" fmla="*/ 1770 h 6018"/>
                  <a:gd name="connsiteX4" fmla="*/ 2832 w 6371"/>
                  <a:gd name="connsiteY4" fmla="*/ 0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6018">
                    <a:moveTo>
                      <a:pt x="2832" y="0"/>
                    </a:moveTo>
                    <a:lnTo>
                      <a:pt x="0" y="6018"/>
                    </a:lnTo>
                    <a:lnTo>
                      <a:pt x="6372" y="5664"/>
                    </a:lnTo>
                    <a:lnTo>
                      <a:pt x="6372" y="1770"/>
                    </a:lnTo>
                    <a:lnTo>
                      <a:pt x="2832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3" name="Freihandform 585">
                <a:extLst>
                  <a:ext uri="{FF2B5EF4-FFF2-40B4-BE49-F238E27FC236}">
                    <a16:creationId xmlns:a16="http://schemas.microsoft.com/office/drawing/2014/main" id="{14DB152A-9539-4011-9698-16500EB1F366}"/>
                  </a:ext>
                </a:extLst>
              </p:cNvPr>
              <p:cNvSpPr/>
              <p:nvPr/>
            </p:nvSpPr>
            <p:spPr>
              <a:xfrm>
                <a:off x="1081353" y="4081144"/>
                <a:ext cx="12035" cy="7434"/>
              </a:xfrm>
              <a:custGeom>
                <a:avLst/>
                <a:gdLst>
                  <a:gd name="connsiteX0" fmla="*/ 10265 w 12035"/>
                  <a:gd name="connsiteY0" fmla="*/ 0 h 7434"/>
                  <a:gd name="connsiteX1" fmla="*/ 0 w 12035"/>
                  <a:gd name="connsiteY1" fmla="*/ 6726 h 7434"/>
                  <a:gd name="connsiteX2" fmla="*/ 12035 w 12035"/>
                  <a:gd name="connsiteY2" fmla="*/ 7434 h 7434"/>
                  <a:gd name="connsiteX3" fmla="*/ 12035 w 12035"/>
                  <a:gd name="connsiteY3" fmla="*/ 3540 h 7434"/>
                  <a:gd name="connsiteX4" fmla="*/ 10265 w 12035"/>
                  <a:gd name="connsiteY4" fmla="*/ 0 h 7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35" h="7434">
                    <a:moveTo>
                      <a:pt x="10265" y="0"/>
                    </a:moveTo>
                    <a:lnTo>
                      <a:pt x="0" y="6726"/>
                    </a:lnTo>
                    <a:lnTo>
                      <a:pt x="12035" y="7434"/>
                    </a:lnTo>
                    <a:lnTo>
                      <a:pt x="12035" y="3540"/>
                    </a:lnTo>
                    <a:lnTo>
                      <a:pt x="10265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4" name="Freihandform 586">
                <a:extLst>
                  <a:ext uri="{FF2B5EF4-FFF2-40B4-BE49-F238E27FC236}">
                    <a16:creationId xmlns:a16="http://schemas.microsoft.com/office/drawing/2014/main" id="{8B8E8F21-9F80-4275-A1EC-ED1CFC80EFDB}"/>
                  </a:ext>
                </a:extLst>
              </p:cNvPr>
              <p:cNvSpPr/>
              <p:nvPr/>
            </p:nvSpPr>
            <p:spPr>
              <a:xfrm>
                <a:off x="-386932" y="4001842"/>
                <a:ext cx="1492710" cy="1027382"/>
              </a:xfrm>
              <a:custGeom>
                <a:avLst/>
                <a:gdLst>
                  <a:gd name="connsiteX0" fmla="*/ 1480321 w 1492710"/>
                  <a:gd name="connsiteY0" fmla="*/ 82842 h 1027382"/>
                  <a:gd name="connsiteX1" fmla="*/ 1480321 w 1492710"/>
                  <a:gd name="connsiteY1" fmla="*/ 86736 h 1027382"/>
                  <a:gd name="connsiteX2" fmla="*/ 1468286 w 1492710"/>
                  <a:gd name="connsiteY2" fmla="*/ 86028 h 1027382"/>
                  <a:gd name="connsiteX3" fmla="*/ 15221 w 1492710"/>
                  <a:gd name="connsiteY3" fmla="*/ 1008265 h 1027382"/>
                  <a:gd name="connsiteX4" fmla="*/ 372027 w 1492710"/>
                  <a:gd name="connsiteY4" fmla="*/ 8497 h 1027382"/>
                  <a:gd name="connsiteX5" fmla="*/ 1468286 w 1492710"/>
                  <a:gd name="connsiteY5" fmla="*/ 86028 h 1027382"/>
                  <a:gd name="connsiteX6" fmla="*/ 1478551 w 1492710"/>
                  <a:gd name="connsiteY6" fmla="*/ 79302 h 1027382"/>
                  <a:gd name="connsiteX7" fmla="*/ 1480321 w 1492710"/>
                  <a:gd name="connsiteY7" fmla="*/ 82842 h 1027382"/>
                  <a:gd name="connsiteX8" fmla="*/ 1480675 w 1492710"/>
                  <a:gd name="connsiteY8" fmla="*/ 78947 h 1027382"/>
                  <a:gd name="connsiteX9" fmla="*/ 366364 w 1492710"/>
                  <a:gd name="connsiteY9" fmla="*/ 0 h 1027382"/>
                  <a:gd name="connsiteX10" fmla="*/ 0 w 1492710"/>
                  <a:gd name="connsiteY10" fmla="*/ 1027383 h 1027382"/>
                  <a:gd name="connsiteX11" fmla="*/ 1492710 w 1492710"/>
                  <a:gd name="connsiteY11" fmla="*/ 79656 h 1027382"/>
                  <a:gd name="connsiteX12" fmla="*/ 1480675 w 1492710"/>
                  <a:gd name="connsiteY12" fmla="*/ 78947 h 1027382"/>
                  <a:gd name="connsiteX13" fmla="*/ 1480321 w 1492710"/>
                  <a:gd name="connsiteY13" fmla="*/ 82842 h 1027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92710" h="1027382">
                    <a:moveTo>
                      <a:pt x="1480321" y="82842"/>
                    </a:moveTo>
                    <a:lnTo>
                      <a:pt x="1480321" y="86736"/>
                    </a:lnTo>
                    <a:lnTo>
                      <a:pt x="1468286" y="86028"/>
                    </a:lnTo>
                    <a:lnTo>
                      <a:pt x="15221" y="1008265"/>
                    </a:lnTo>
                    <a:lnTo>
                      <a:pt x="372027" y="8497"/>
                    </a:lnTo>
                    <a:lnTo>
                      <a:pt x="1468286" y="86028"/>
                    </a:lnTo>
                    <a:lnTo>
                      <a:pt x="1478551" y="79302"/>
                    </a:lnTo>
                    <a:lnTo>
                      <a:pt x="1480321" y="82842"/>
                    </a:lnTo>
                    <a:lnTo>
                      <a:pt x="1480675" y="78947"/>
                    </a:lnTo>
                    <a:lnTo>
                      <a:pt x="366364" y="0"/>
                    </a:lnTo>
                    <a:lnTo>
                      <a:pt x="0" y="1027383"/>
                    </a:lnTo>
                    <a:lnTo>
                      <a:pt x="1492710" y="79656"/>
                    </a:lnTo>
                    <a:lnTo>
                      <a:pt x="1480675" y="78947"/>
                    </a:lnTo>
                    <a:lnTo>
                      <a:pt x="1480321" y="8284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5" name="Freihandform 587">
                <a:extLst>
                  <a:ext uri="{FF2B5EF4-FFF2-40B4-BE49-F238E27FC236}">
                    <a16:creationId xmlns:a16="http://schemas.microsoft.com/office/drawing/2014/main" id="{EE2A16A3-CBB1-4738-9826-359B2289DCDA}"/>
                  </a:ext>
                </a:extLst>
              </p:cNvPr>
              <p:cNvSpPr/>
              <p:nvPr/>
            </p:nvSpPr>
            <p:spPr>
              <a:xfrm>
                <a:off x="-22692" y="4005028"/>
                <a:ext cx="4955" cy="4956"/>
              </a:xfrm>
              <a:custGeom>
                <a:avLst/>
                <a:gdLst>
                  <a:gd name="connsiteX0" fmla="*/ 1416 w 4955"/>
                  <a:gd name="connsiteY0" fmla="*/ 0 h 4956"/>
                  <a:gd name="connsiteX1" fmla="*/ 0 w 4955"/>
                  <a:gd name="connsiteY1" fmla="*/ 3540 h 4956"/>
                  <a:gd name="connsiteX2" fmla="*/ 3540 w 4955"/>
                  <a:gd name="connsiteY2" fmla="*/ 4956 h 4956"/>
                  <a:gd name="connsiteX3" fmla="*/ 4956 w 4955"/>
                  <a:gd name="connsiteY3" fmla="*/ 1062 h 4956"/>
                  <a:gd name="connsiteX4" fmla="*/ 1416 w 4955"/>
                  <a:gd name="connsiteY4" fmla="*/ 0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5" h="4956">
                    <a:moveTo>
                      <a:pt x="1416" y="0"/>
                    </a:moveTo>
                    <a:lnTo>
                      <a:pt x="0" y="3540"/>
                    </a:lnTo>
                    <a:lnTo>
                      <a:pt x="3540" y="4956"/>
                    </a:lnTo>
                    <a:lnTo>
                      <a:pt x="4956" y="1062"/>
                    </a:lnTo>
                    <a:lnTo>
                      <a:pt x="1416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6" name="Freihandform 588">
                <a:extLst>
                  <a:ext uri="{FF2B5EF4-FFF2-40B4-BE49-F238E27FC236}">
                    <a16:creationId xmlns:a16="http://schemas.microsoft.com/office/drawing/2014/main" id="{D79155B5-E7C4-4AB6-9111-E4C42B10E08B}"/>
                  </a:ext>
                </a:extLst>
              </p:cNvPr>
              <p:cNvSpPr/>
              <p:nvPr/>
            </p:nvSpPr>
            <p:spPr>
              <a:xfrm>
                <a:off x="-383392" y="3898820"/>
                <a:ext cx="370611" cy="1122261"/>
              </a:xfrm>
              <a:custGeom>
                <a:avLst/>
                <a:gdLst>
                  <a:gd name="connsiteX0" fmla="*/ 367072 w 370611"/>
                  <a:gd name="connsiteY0" fmla="*/ 103729 h 1122261"/>
                  <a:gd name="connsiteX1" fmla="*/ 365656 w 370611"/>
                  <a:gd name="connsiteY1" fmla="*/ 107270 h 1122261"/>
                  <a:gd name="connsiteX2" fmla="*/ 364240 w 370611"/>
                  <a:gd name="connsiteY2" fmla="*/ 111164 h 1122261"/>
                  <a:gd name="connsiteX3" fmla="*/ 360700 w 370611"/>
                  <a:gd name="connsiteY3" fmla="*/ 109748 h 1122261"/>
                  <a:gd name="connsiteX4" fmla="*/ 10619 w 370611"/>
                  <a:gd name="connsiteY4" fmla="*/ 1091107 h 1122261"/>
                  <a:gd name="connsiteX5" fmla="*/ 100175 w 370611"/>
                  <a:gd name="connsiteY5" fmla="*/ 10975 h 1122261"/>
                  <a:gd name="connsiteX6" fmla="*/ 360700 w 370611"/>
                  <a:gd name="connsiteY6" fmla="*/ 109748 h 1122261"/>
                  <a:gd name="connsiteX7" fmla="*/ 362116 w 370611"/>
                  <a:gd name="connsiteY7" fmla="*/ 106208 h 1122261"/>
                  <a:gd name="connsiteX8" fmla="*/ 365656 w 370611"/>
                  <a:gd name="connsiteY8" fmla="*/ 107270 h 1122261"/>
                  <a:gd name="connsiteX9" fmla="*/ 367072 w 370611"/>
                  <a:gd name="connsiteY9" fmla="*/ 103729 h 1122261"/>
                  <a:gd name="connsiteX10" fmla="*/ 93095 w 370611"/>
                  <a:gd name="connsiteY10" fmla="*/ 0 h 1122261"/>
                  <a:gd name="connsiteX11" fmla="*/ 0 w 370611"/>
                  <a:gd name="connsiteY11" fmla="*/ 1120492 h 1122261"/>
                  <a:gd name="connsiteX12" fmla="*/ 7787 w 370611"/>
                  <a:gd name="connsiteY12" fmla="*/ 1122262 h 1122261"/>
                  <a:gd name="connsiteX13" fmla="*/ 370611 w 370611"/>
                  <a:gd name="connsiteY13" fmla="*/ 104792 h 1122261"/>
                  <a:gd name="connsiteX14" fmla="*/ 367072 w 370611"/>
                  <a:gd name="connsiteY14" fmla="*/ 103729 h 1122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70611" h="1122261">
                    <a:moveTo>
                      <a:pt x="367072" y="103729"/>
                    </a:moveTo>
                    <a:lnTo>
                      <a:pt x="365656" y="107270"/>
                    </a:lnTo>
                    <a:lnTo>
                      <a:pt x="364240" y="111164"/>
                    </a:lnTo>
                    <a:lnTo>
                      <a:pt x="360700" y="109748"/>
                    </a:lnTo>
                    <a:lnTo>
                      <a:pt x="10619" y="1091107"/>
                    </a:lnTo>
                    <a:lnTo>
                      <a:pt x="100175" y="10975"/>
                    </a:lnTo>
                    <a:lnTo>
                      <a:pt x="360700" y="109748"/>
                    </a:lnTo>
                    <a:lnTo>
                      <a:pt x="362116" y="106208"/>
                    </a:lnTo>
                    <a:lnTo>
                      <a:pt x="365656" y="107270"/>
                    </a:lnTo>
                    <a:lnTo>
                      <a:pt x="367072" y="103729"/>
                    </a:lnTo>
                    <a:lnTo>
                      <a:pt x="93095" y="0"/>
                    </a:lnTo>
                    <a:lnTo>
                      <a:pt x="0" y="1120492"/>
                    </a:lnTo>
                    <a:lnTo>
                      <a:pt x="7787" y="1122262"/>
                    </a:lnTo>
                    <a:lnTo>
                      <a:pt x="370611" y="104792"/>
                    </a:lnTo>
                    <a:lnTo>
                      <a:pt x="367072" y="103729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7" name="Freihandform 589">
                <a:extLst>
                  <a:ext uri="{FF2B5EF4-FFF2-40B4-BE49-F238E27FC236}">
                    <a16:creationId xmlns:a16="http://schemas.microsoft.com/office/drawing/2014/main" id="{631B400B-3986-4814-9A5E-FB02438D2447}"/>
                  </a:ext>
                </a:extLst>
              </p:cNvPr>
              <p:cNvSpPr/>
              <p:nvPr/>
            </p:nvSpPr>
            <p:spPr>
              <a:xfrm>
                <a:off x="-292067" y="2546796"/>
                <a:ext cx="533793" cy="1464958"/>
              </a:xfrm>
              <a:custGeom>
                <a:avLst/>
                <a:gdLst>
                  <a:gd name="connsiteX0" fmla="*/ 274330 w 533793"/>
                  <a:gd name="connsiteY0" fmla="*/ 1459294 h 1464958"/>
                  <a:gd name="connsiteX1" fmla="*/ 270437 w 533793"/>
                  <a:gd name="connsiteY1" fmla="*/ 1458586 h 1464958"/>
                  <a:gd name="connsiteX2" fmla="*/ 271145 w 533793"/>
                  <a:gd name="connsiteY2" fmla="*/ 1453984 h 1464958"/>
                  <a:gd name="connsiteX3" fmla="*/ 10265 w 533793"/>
                  <a:gd name="connsiteY3" fmla="*/ 1355211 h 1464958"/>
                  <a:gd name="connsiteX4" fmla="*/ 519281 w 533793"/>
                  <a:gd name="connsiteY4" fmla="*/ 40713 h 1464958"/>
                  <a:gd name="connsiteX5" fmla="*/ 271145 w 533793"/>
                  <a:gd name="connsiteY5" fmla="*/ 1453984 h 1464958"/>
                  <a:gd name="connsiteX6" fmla="*/ 275746 w 533793"/>
                  <a:gd name="connsiteY6" fmla="*/ 1455754 h 1464958"/>
                  <a:gd name="connsiteX7" fmla="*/ 274330 w 533793"/>
                  <a:gd name="connsiteY7" fmla="*/ 1459294 h 1464958"/>
                  <a:gd name="connsiteX8" fmla="*/ 278224 w 533793"/>
                  <a:gd name="connsiteY8" fmla="*/ 1460003 h 1464958"/>
                  <a:gd name="connsiteX9" fmla="*/ 533793 w 533793"/>
                  <a:gd name="connsiteY9" fmla="*/ 2124 h 1464958"/>
                  <a:gd name="connsiteX10" fmla="*/ 526360 w 533793"/>
                  <a:gd name="connsiteY10" fmla="*/ 0 h 1464958"/>
                  <a:gd name="connsiteX11" fmla="*/ 0 w 533793"/>
                  <a:gd name="connsiteY11" fmla="*/ 1359813 h 1464958"/>
                  <a:gd name="connsiteX12" fmla="*/ 277516 w 533793"/>
                  <a:gd name="connsiteY12" fmla="*/ 1464959 h 1464958"/>
                  <a:gd name="connsiteX13" fmla="*/ 278224 w 533793"/>
                  <a:gd name="connsiteY13" fmla="*/ 1460003 h 1464958"/>
                  <a:gd name="connsiteX14" fmla="*/ 274330 w 533793"/>
                  <a:gd name="connsiteY14" fmla="*/ 1459294 h 1464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33793" h="1464958">
                    <a:moveTo>
                      <a:pt x="274330" y="1459294"/>
                    </a:moveTo>
                    <a:lnTo>
                      <a:pt x="270437" y="1458586"/>
                    </a:lnTo>
                    <a:lnTo>
                      <a:pt x="271145" y="1453984"/>
                    </a:lnTo>
                    <a:lnTo>
                      <a:pt x="10265" y="1355211"/>
                    </a:lnTo>
                    <a:lnTo>
                      <a:pt x="519281" y="40713"/>
                    </a:lnTo>
                    <a:lnTo>
                      <a:pt x="271145" y="1453984"/>
                    </a:lnTo>
                    <a:lnTo>
                      <a:pt x="275746" y="1455754"/>
                    </a:lnTo>
                    <a:lnTo>
                      <a:pt x="274330" y="1459294"/>
                    </a:lnTo>
                    <a:lnTo>
                      <a:pt x="278224" y="1460003"/>
                    </a:lnTo>
                    <a:lnTo>
                      <a:pt x="533793" y="2124"/>
                    </a:lnTo>
                    <a:lnTo>
                      <a:pt x="526360" y="0"/>
                    </a:lnTo>
                    <a:lnTo>
                      <a:pt x="0" y="1359813"/>
                    </a:lnTo>
                    <a:lnTo>
                      <a:pt x="277516" y="1464959"/>
                    </a:lnTo>
                    <a:lnTo>
                      <a:pt x="278224" y="1460003"/>
                    </a:lnTo>
                    <a:lnTo>
                      <a:pt x="274330" y="145929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98" name="Freihandform 590">
                <a:extLst>
                  <a:ext uri="{FF2B5EF4-FFF2-40B4-BE49-F238E27FC236}">
                    <a16:creationId xmlns:a16="http://schemas.microsoft.com/office/drawing/2014/main" id="{5C81163A-2D10-468C-8FEA-409499A1F736}"/>
                  </a:ext>
                </a:extLst>
              </p:cNvPr>
              <p:cNvSpPr/>
              <p:nvPr/>
            </p:nvSpPr>
            <p:spPr>
              <a:xfrm>
                <a:off x="-21630" y="4000779"/>
                <a:ext cx="5309" cy="5310"/>
              </a:xfrm>
              <a:custGeom>
                <a:avLst/>
                <a:gdLst>
                  <a:gd name="connsiteX0" fmla="*/ 708 w 5309"/>
                  <a:gd name="connsiteY0" fmla="*/ 0 h 5310"/>
                  <a:gd name="connsiteX1" fmla="*/ 0 w 5309"/>
                  <a:gd name="connsiteY1" fmla="*/ 4603 h 5310"/>
                  <a:gd name="connsiteX2" fmla="*/ 3894 w 5309"/>
                  <a:gd name="connsiteY2" fmla="*/ 5310 h 5310"/>
                  <a:gd name="connsiteX3" fmla="*/ 5310 w 5309"/>
                  <a:gd name="connsiteY3" fmla="*/ 1770 h 5310"/>
                  <a:gd name="connsiteX4" fmla="*/ 708 w 5309"/>
                  <a:gd name="connsiteY4" fmla="*/ 0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09" h="5310">
                    <a:moveTo>
                      <a:pt x="708" y="0"/>
                    </a:moveTo>
                    <a:lnTo>
                      <a:pt x="0" y="4603"/>
                    </a:lnTo>
                    <a:lnTo>
                      <a:pt x="3894" y="5310"/>
                    </a:lnTo>
                    <a:lnTo>
                      <a:pt x="5310" y="1770"/>
                    </a:lnTo>
                    <a:lnTo>
                      <a:pt x="708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</p:grpSp>
        <p:sp>
          <p:nvSpPr>
            <p:cNvPr id="222" name="Freihandform 351">
              <a:extLst>
                <a:ext uri="{FF2B5EF4-FFF2-40B4-BE49-F238E27FC236}">
                  <a16:creationId xmlns:a16="http://schemas.microsoft.com/office/drawing/2014/main" id="{9BAAB853-1DE8-4F5F-9E8E-4F8D049B5C3D}"/>
                </a:ext>
              </a:extLst>
            </p:cNvPr>
            <p:cNvSpPr/>
            <p:nvPr/>
          </p:nvSpPr>
          <p:spPr>
            <a:xfrm>
              <a:off x="-1981353" y="2018566"/>
              <a:ext cx="50973" cy="50982"/>
            </a:xfrm>
            <a:custGeom>
              <a:avLst/>
              <a:gdLst>
                <a:gd name="connsiteX0" fmla="*/ 41534 w 50973"/>
                <a:gd name="connsiteY0" fmla="*/ 5688 h 50982"/>
                <a:gd name="connsiteX1" fmla="*/ 5688 w 50973"/>
                <a:gd name="connsiteY1" fmla="*/ 9441 h 50982"/>
                <a:gd name="connsiteX2" fmla="*/ 9440 w 50973"/>
                <a:gd name="connsiteY2" fmla="*/ 45293 h 50982"/>
                <a:gd name="connsiteX3" fmla="*/ 45074 w 50973"/>
                <a:gd name="connsiteY3" fmla="*/ 41799 h 50982"/>
                <a:gd name="connsiteX4" fmla="*/ 41793 w 50973"/>
                <a:gd name="connsiteY4" fmla="*/ 5901 h 50982"/>
                <a:gd name="connsiteX5" fmla="*/ 41534 w 50973"/>
                <a:gd name="connsiteY5" fmla="*/ 5688 h 5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3" h="50982">
                  <a:moveTo>
                    <a:pt x="41534" y="5688"/>
                  </a:moveTo>
                  <a:cubicBezTo>
                    <a:pt x="30600" y="-3176"/>
                    <a:pt x="14551" y="-1495"/>
                    <a:pt x="5688" y="9441"/>
                  </a:cubicBezTo>
                  <a:cubicBezTo>
                    <a:pt x="-3176" y="20377"/>
                    <a:pt x="-1495" y="36428"/>
                    <a:pt x="9440" y="45293"/>
                  </a:cubicBezTo>
                  <a:cubicBezTo>
                    <a:pt x="20275" y="54077"/>
                    <a:pt x="36151" y="52519"/>
                    <a:pt x="45074" y="41799"/>
                  </a:cubicBezTo>
                  <a:cubicBezTo>
                    <a:pt x="54079" y="30980"/>
                    <a:pt x="52610" y="14907"/>
                    <a:pt x="41793" y="5901"/>
                  </a:cubicBezTo>
                  <a:cubicBezTo>
                    <a:pt x="41708" y="5830"/>
                    <a:pt x="41619" y="5759"/>
                    <a:pt x="41534" y="568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3" name="Freihandform 352">
              <a:extLst>
                <a:ext uri="{FF2B5EF4-FFF2-40B4-BE49-F238E27FC236}">
                  <a16:creationId xmlns:a16="http://schemas.microsoft.com/office/drawing/2014/main" id="{0DCEF57F-F88D-4ADD-81E8-48DBA30ABBBC}"/>
                </a:ext>
              </a:extLst>
            </p:cNvPr>
            <p:cNvSpPr/>
            <p:nvPr/>
          </p:nvSpPr>
          <p:spPr>
            <a:xfrm>
              <a:off x="-1680841" y="2645918"/>
              <a:ext cx="90619" cy="90617"/>
            </a:xfrm>
            <a:custGeom>
              <a:avLst/>
              <a:gdLst>
                <a:gd name="connsiteX0" fmla="*/ 72697 w 90619"/>
                <a:gd name="connsiteY0" fmla="*/ 9212 h 90617"/>
                <a:gd name="connsiteX1" fmla="*/ 9215 w 90619"/>
                <a:gd name="connsiteY1" fmla="*/ 17920 h 90617"/>
                <a:gd name="connsiteX2" fmla="*/ 15353 w 90619"/>
                <a:gd name="connsiteY2" fmla="*/ 79309 h 90617"/>
                <a:gd name="connsiteX3" fmla="*/ 79302 w 90619"/>
                <a:gd name="connsiteY3" fmla="*/ 75273 h 90617"/>
                <a:gd name="connsiteX4" fmla="*/ 75267 w 90619"/>
                <a:gd name="connsiteY4" fmla="*/ 11300 h 90617"/>
                <a:gd name="connsiteX5" fmla="*/ 72697 w 90619"/>
                <a:gd name="connsiteY5" fmla="*/ 9212 h 90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619" h="90617">
                  <a:moveTo>
                    <a:pt x="72697" y="9212"/>
                  </a:moveTo>
                  <a:cubicBezTo>
                    <a:pt x="52761" y="-5905"/>
                    <a:pt x="24340" y="-2011"/>
                    <a:pt x="9215" y="17920"/>
                  </a:cubicBezTo>
                  <a:cubicBezTo>
                    <a:pt x="-5132" y="36826"/>
                    <a:pt x="-2455" y="63625"/>
                    <a:pt x="15353" y="79309"/>
                  </a:cubicBezTo>
                  <a:cubicBezTo>
                    <a:pt x="34128" y="95842"/>
                    <a:pt x="62757" y="94036"/>
                    <a:pt x="79302" y="75273"/>
                  </a:cubicBezTo>
                  <a:cubicBezTo>
                    <a:pt x="95847" y="56509"/>
                    <a:pt x="94042" y="27869"/>
                    <a:pt x="75267" y="11300"/>
                  </a:cubicBezTo>
                  <a:cubicBezTo>
                    <a:pt x="74435" y="10592"/>
                    <a:pt x="73578" y="9884"/>
                    <a:pt x="72697" y="921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4" name="Freihandform 353">
              <a:extLst>
                <a:ext uri="{FF2B5EF4-FFF2-40B4-BE49-F238E27FC236}">
                  <a16:creationId xmlns:a16="http://schemas.microsoft.com/office/drawing/2014/main" id="{BB4048BF-C9BD-4A85-9849-F388B2696BA3}"/>
                </a:ext>
              </a:extLst>
            </p:cNvPr>
            <p:cNvSpPr/>
            <p:nvPr/>
          </p:nvSpPr>
          <p:spPr>
            <a:xfrm>
              <a:off x="-1985194" y="1417971"/>
              <a:ext cx="235754" cy="235787"/>
            </a:xfrm>
            <a:custGeom>
              <a:avLst/>
              <a:gdLst>
                <a:gd name="connsiteX0" fmla="*/ 192631 w 235754"/>
                <a:gd name="connsiteY0" fmla="*/ 26743 h 235787"/>
                <a:gd name="connsiteX1" fmla="*/ 26740 w 235754"/>
                <a:gd name="connsiteY1" fmla="*/ 43127 h 235787"/>
                <a:gd name="connsiteX2" fmla="*/ 43122 w 235754"/>
                <a:gd name="connsiteY2" fmla="*/ 209045 h 235787"/>
                <a:gd name="connsiteX3" fmla="*/ 208913 w 235754"/>
                <a:gd name="connsiteY3" fmla="*/ 192781 h 235787"/>
                <a:gd name="connsiteX4" fmla="*/ 192754 w 235754"/>
                <a:gd name="connsiteY4" fmla="*/ 26842 h 235787"/>
                <a:gd name="connsiteX5" fmla="*/ 192631 w 235754"/>
                <a:gd name="connsiteY5" fmla="*/ 26743 h 235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5754" h="235787">
                  <a:moveTo>
                    <a:pt x="192631" y="26743"/>
                  </a:moveTo>
                  <a:cubicBezTo>
                    <a:pt x="142295" y="-14547"/>
                    <a:pt x="68024" y="-7212"/>
                    <a:pt x="26740" y="43127"/>
                  </a:cubicBezTo>
                  <a:cubicBezTo>
                    <a:pt x="-14547" y="93470"/>
                    <a:pt x="-7209" y="167751"/>
                    <a:pt x="43122" y="209045"/>
                  </a:cubicBezTo>
                  <a:cubicBezTo>
                    <a:pt x="93408" y="250296"/>
                    <a:pt x="167601" y="243017"/>
                    <a:pt x="208913" y="192781"/>
                  </a:cubicBezTo>
                  <a:cubicBezTo>
                    <a:pt x="250268" y="142495"/>
                    <a:pt x="243033" y="68203"/>
                    <a:pt x="192754" y="26842"/>
                  </a:cubicBezTo>
                  <a:cubicBezTo>
                    <a:pt x="192712" y="26810"/>
                    <a:pt x="192673" y="26775"/>
                    <a:pt x="192631" y="2674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5" name="Freihandform 354">
              <a:extLst>
                <a:ext uri="{FF2B5EF4-FFF2-40B4-BE49-F238E27FC236}">
                  <a16:creationId xmlns:a16="http://schemas.microsoft.com/office/drawing/2014/main" id="{25E15C29-5DCD-446F-806F-4095A9830C65}"/>
                </a:ext>
              </a:extLst>
            </p:cNvPr>
            <p:cNvSpPr/>
            <p:nvPr/>
          </p:nvSpPr>
          <p:spPr>
            <a:xfrm>
              <a:off x="-1572954" y="2881646"/>
              <a:ext cx="52589" cy="52162"/>
            </a:xfrm>
            <a:custGeom>
              <a:avLst/>
              <a:gdLst>
                <a:gd name="connsiteX0" fmla="*/ 41624 w 52589"/>
                <a:gd name="connsiteY0" fmla="*/ 5723 h 52162"/>
                <a:gd name="connsiteX1" fmla="*/ 5872 w 52589"/>
                <a:gd name="connsiteY1" fmla="*/ 9264 h 52162"/>
                <a:gd name="connsiteX2" fmla="*/ 8991 w 52589"/>
                <a:gd name="connsiteY2" fmla="*/ 44666 h 52162"/>
                <a:gd name="connsiteX3" fmla="*/ 9412 w 52589"/>
                <a:gd name="connsiteY3" fmla="*/ 45020 h 52162"/>
                <a:gd name="connsiteX4" fmla="*/ 45450 w 52589"/>
                <a:gd name="connsiteY4" fmla="*/ 44348 h 52162"/>
                <a:gd name="connsiteX5" fmla="*/ 44792 w 52589"/>
                <a:gd name="connsiteY5" fmla="*/ 8308 h 52162"/>
                <a:gd name="connsiteX6" fmla="*/ 41624 w 52589"/>
                <a:gd name="connsiteY6" fmla="*/ 5723 h 5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589" h="52162">
                  <a:moveTo>
                    <a:pt x="41624" y="5723"/>
                  </a:moveTo>
                  <a:cubicBezTo>
                    <a:pt x="30760" y="-3127"/>
                    <a:pt x="14789" y="-1534"/>
                    <a:pt x="5872" y="9264"/>
                  </a:cubicBezTo>
                  <a:cubicBezTo>
                    <a:pt x="-3045" y="19920"/>
                    <a:pt x="-1650" y="35745"/>
                    <a:pt x="8991" y="44666"/>
                  </a:cubicBezTo>
                  <a:cubicBezTo>
                    <a:pt x="9129" y="44808"/>
                    <a:pt x="9270" y="44914"/>
                    <a:pt x="9412" y="45020"/>
                  </a:cubicBezTo>
                  <a:cubicBezTo>
                    <a:pt x="19546" y="54791"/>
                    <a:pt x="35680" y="54508"/>
                    <a:pt x="45450" y="44348"/>
                  </a:cubicBezTo>
                  <a:cubicBezTo>
                    <a:pt x="55220" y="34223"/>
                    <a:pt x="54926" y="18079"/>
                    <a:pt x="44792" y="8308"/>
                  </a:cubicBezTo>
                  <a:cubicBezTo>
                    <a:pt x="43807" y="7387"/>
                    <a:pt x="42749" y="6502"/>
                    <a:pt x="41624" y="572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6" name="Freihandform 355">
              <a:extLst>
                <a:ext uri="{FF2B5EF4-FFF2-40B4-BE49-F238E27FC236}">
                  <a16:creationId xmlns:a16="http://schemas.microsoft.com/office/drawing/2014/main" id="{FF995482-D514-40CD-A2C2-6166FDF732A5}"/>
                </a:ext>
              </a:extLst>
            </p:cNvPr>
            <p:cNvSpPr/>
            <p:nvPr/>
          </p:nvSpPr>
          <p:spPr>
            <a:xfrm>
              <a:off x="-33834" y="2089581"/>
              <a:ext cx="51094" cy="51240"/>
            </a:xfrm>
            <a:custGeom>
              <a:avLst/>
              <a:gdLst>
                <a:gd name="connsiteX0" fmla="*/ 41937 w 51094"/>
                <a:gd name="connsiteY0" fmla="*/ 5833 h 51240"/>
                <a:gd name="connsiteX1" fmla="*/ 5832 w 51094"/>
                <a:gd name="connsiteY1" fmla="*/ 9373 h 51240"/>
                <a:gd name="connsiteX2" fmla="*/ 9372 w 51094"/>
                <a:gd name="connsiteY2" fmla="*/ 45484 h 51240"/>
                <a:gd name="connsiteX3" fmla="*/ 45477 w 51094"/>
                <a:gd name="connsiteY3" fmla="*/ 41943 h 51240"/>
                <a:gd name="connsiteX4" fmla="*/ 41937 w 51094"/>
                <a:gd name="connsiteY4" fmla="*/ 5833 h 51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094" h="51240">
                  <a:moveTo>
                    <a:pt x="41937" y="5833"/>
                  </a:moveTo>
                  <a:cubicBezTo>
                    <a:pt x="30989" y="-3163"/>
                    <a:pt x="14823" y="-1577"/>
                    <a:pt x="5832" y="9373"/>
                  </a:cubicBezTo>
                  <a:cubicBezTo>
                    <a:pt x="-3163" y="20323"/>
                    <a:pt x="-1577" y="36491"/>
                    <a:pt x="9372" y="45484"/>
                  </a:cubicBezTo>
                  <a:cubicBezTo>
                    <a:pt x="20352" y="54373"/>
                    <a:pt x="36433" y="52794"/>
                    <a:pt x="45477" y="41943"/>
                  </a:cubicBezTo>
                  <a:cubicBezTo>
                    <a:pt x="54171" y="30905"/>
                    <a:pt x="52610" y="14974"/>
                    <a:pt x="41937" y="583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7" name="Freihandform 356">
              <a:extLst>
                <a:ext uri="{FF2B5EF4-FFF2-40B4-BE49-F238E27FC236}">
                  <a16:creationId xmlns:a16="http://schemas.microsoft.com/office/drawing/2014/main" id="{036430EF-2404-4038-A92E-367881B9F104}"/>
                </a:ext>
              </a:extLst>
            </p:cNvPr>
            <p:cNvSpPr/>
            <p:nvPr/>
          </p:nvSpPr>
          <p:spPr>
            <a:xfrm>
              <a:off x="-1469152" y="2816191"/>
              <a:ext cx="50973" cy="50984"/>
            </a:xfrm>
            <a:custGeom>
              <a:avLst/>
              <a:gdLst>
                <a:gd name="connsiteX0" fmla="*/ 41535 w 50973"/>
                <a:gd name="connsiteY0" fmla="*/ 5684 h 50984"/>
                <a:gd name="connsiteX1" fmla="*/ 5687 w 50973"/>
                <a:gd name="connsiteY1" fmla="*/ 9436 h 50984"/>
                <a:gd name="connsiteX2" fmla="*/ 9440 w 50973"/>
                <a:gd name="connsiteY2" fmla="*/ 45299 h 50984"/>
                <a:gd name="connsiteX3" fmla="*/ 45074 w 50973"/>
                <a:gd name="connsiteY3" fmla="*/ 41794 h 50984"/>
                <a:gd name="connsiteX4" fmla="*/ 41793 w 50973"/>
                <a:gd name="connsiteY4" fmla="*/ 5896 h 50984"/>
                <a:gd name="connsiteX5" fmla="*/ 41535 w 50973"/>
                <a:gd name="connsiteY5" fmla="*/ 5684 h 50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3" h="50984">
                  <a:moveTo>
                    <a:pt x="41535" y="5684"/>
                  </a:moveTo>
                  <a:cubicBezTo>
                    <a:pt x="30600" y="-3167"/>
                    <a:pt x="14551" y="-1503"/>
                    <a:pt x="5687" y="9436"/>
                  </a:cubicBezTo>
                  <a:cubicBezTo>
                    <a:pt x="-3176" y="20376"/>
                    <a:pt x="-1495" y="36413"/>
                    <a:pt x="9440" y="45299"/>
                  </a:cubicBezTo>
                  <a:cubicBezTo>
                    <a:pt x="20271" y="54079"/>
                    <a:pt x="36151" y="52521"/>
                    <a:pt x="45074" y="41794"/>
                  </a:cubicBezTo>
                  <a:cubicBezTo>
                    <a:pt x="54079" y="30961"/>
                    <a:pt x="52610" y="14888"/>
                    <a:pt x="41793" y="5896"/>
                  </a:cubicBezTo>
                  <a:cubicBezTo>
                    <a:pt x="41708" y="5825"/>
                    <a:pt x="41619" y="5754"/>
                    <a:pt x="41535" y="568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8" name="Freihandform 357">
              <a:extLst>
                <a:ext uri="{FF2B5EF4-FFF2-40B4-BE49-F238E27FC236}">
                  <a16:creationId xmlns:a16="http://schemas.microsoft.com/office/drawing/2014/main" id="{8847394B-B65A-48E2-AB27-EB316465D03A}"/>
                </a:ext>
              </a:extLst>
            </p:cNvPr>
            <p:cNvSpPr/>
            <p:nvPr/>
          </p:nvSpPr>
          <p:spPr>
            <a:xfrm>
              <a:off x="-144259" y="4609990"/>
              <a:ext cx="80419" cy="80731"/>
            </a:xfrm>
            <a:custGeom>
              <a:avLst/>
              <a:gdLst>
                <a:gd name="connsiteX0" fmla="*/ 65640 w 80419"/>
                <a:gd name="connsiteY0" fmla="*/ 8919 h 80731"/>
                <a:gd name="connsiteX1" fmla="*/ 8905 w 80419"/>
                <a:gd name="connsiteY1" fmla="*/ 15079 h 80731"/>
                <a:gd name="connsiteX2" fmla="*/ 15071 w 80419"/>
                <a:gd name="connsiteY2" fmla="*/ 71830 h 80731"/>
                <a:gd name="connsiteX3" fmla="*/ 71303 w 80419"/>
                <a:gd name="connsiteY3" fmla="*/ 66272 h 80731"/>
                <a:gd name="connsiteX4" fmla="*/ 65640 w 80419"/>
                <a:gd name="connsiteY4" fmla="*/ 8919 h 80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419" h="80731">
                  <a:moveTo>
                    <a:pt x="65640" y="8919"/>
                  </a:moveTo>
                  <a:cubicBezTo>
                    <a:pt x="48270" y="-5064"/>
                    <a:pt x="22869" y="-2303"/>
                    <a:pt x="8905" y="15079"/>
                  </a:cubicBezTo>
                  <a:cubicBezTo>
                    <a:pt x="-5060" y="32462"/>
                    <a:pt x="-2299" y="57846"/>
                    <a:pt x="15071" y="71830"/>
                  </a:cubicBezTo>
                  <a:cubicBezTo>
                    <a:pt x="32200" y="85602"/>
                    <a:pt x="57201" y="83124"/>
                    <a:pt x="71303" y="66272"/>
                  </a:cubicBezTo>
                  <a:cubicBezTo>
                    <a:pt x="85395" y="48818"/>
                    <a:pt x="82875" y="23293"/>
                    <a:pt x="65640" y="891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29" name="Freihandform 358">
              <a:extLst>
                <a:ext uri="{FF2B5EF4-FFF2-40B4-BE49-F238E27FC236}">
                  <a16:creationId xmlns:a16="http://schemas.microsoft.com/office/drawing/2014/main" id="{EDDE131D-04EA-4DAB-B147-7C365CD41205}"/>
                </a:ext>
              </a:extLst>
            </p:cNvPr>
            <p:cNvSpPr/>
            <p:nvPr/>
          </p:nvSpPr>
          <p:spPr>
            <a:xfrm>
              <a:off x="-899850" y="3406425"/>
              <a:ext cx="50973" cy="50988"/>
            </a:xfrm>
            <a:custGeom>
              <a:avLst/>
              <a:gdLst>
                <a:gd name="connsiteX0" fmla="*/ 40008 w 50973"/>
                <a:gd name="connsiteY0" fmla="*/ 4549 h 50988"/>
                <a:gd name="connsiteX1" fmla="*/ 4543 w 50973"/>
                <a:gd name="connsiteY1" fmla="*/ 10957 h 50988"/>
                <a:gd name="connsiteX2" fmla="*/ 7796 w 50973"/>
                <a:gd name="connsiteY2" fmla="*/ 43846 h 50988"/>
                <a:gd name="connsiteX3" fmla="*/ 43834 w 50973"/>
                <a:gd name="connsiteY3" fmla="*/ 43173 h 50988"/>
                <a:gd name="connsiteX4" fmla="*/ 43176 w 50973"/>
                <a:gd name="connsiteY4" fmla="*/ 7133 h 50988"/>
                <a:gd name="connsiteX5" fmla="*/ 40008 w 50973"/>
                <a:gd name="connsiteY5" fmla="*/ 4549 h 50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3" h="50988">
                  <a:moveTo>
                    <a:pt x="40008" y="4549"/>
                  </a:moveTo>
                  <a:cubicBezTo>
                    <a:pt x="28440" y="-3487"/>
                    <a:pt x="12560" y="-584"/>
                    <a:pt x="4543" y="10957"/>
                  </a:cubicBezTo>
                  <a:cubicBezTo>
                    <a:pt x="-2579" y="21259"/>
                    <a:pt x="-1202" y="35172"/>
                    <a:pt x="7796" y="43846"/>
                  </a:cubicBezTo>
                  <a:cubicBezTo>
                    <a:pt x="17930" y="53617"/>
                    <a:pt x="34064" y="53334"/>
                    <a:pt x="43834" y="43173"/>
                  </a:cubicBezTo>
                  <a:cubicBezTo>
                    <a:pt x="53604" y="33048"/>
                    <a:pt x="53310" y="16904"/>
                    <a:pt x="43176" y="7133"/>
                  </a:cubicBezTo>
                  <a:cubicBezTo>
                    <a:pt x="42192" y="6213"/>
                    <a:pt x="41133" y="5328"/>
                    <a:pt x="40008" y="454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0" name="Freihandform 359">
              <a:extLst>
                <a:ext uri="{FF2B5EF4-FFF2-40B4-BE49-F238E27FC236}">
                  <a16:creationId xmlns:a16="http://schemas.microsoft.com/office/drawing/2014/main" id="{E48F033B-6490-4292-84CD-41F27FD2A487}"/>
                </a:ext>
              </a:extLst>
            </p:cNvPr>
            <p:cNvSpPr/>
            <p:nvPr/>
          </p:nvSpPr>
          <p:spPr>
            <a:xfrm>
              <a:off x="699249" y="2209910"/>
              <a:ext cx="50974" cy="51132"/>
            </a:xfrm>
            <a:custGeom>
              <a:avLst/>
              <a:gdLst>
                <a:gd name="connsiteX0" fmla="*/ 41581 w 50974"/>
                <a:gd name="connsiteY0" fmla="*/ 5872 h 51132"/>
                <a:gd name="connsiteX1" fmla="*/ 6176 w 50974"/>
                <a:gd name="connsiteY1" fmla="*/ 8988 h 51132"/>
                <a:gd name="connsiteX2" fmla="*/ 5829 w 50974"/>
                <a:gd name="connsiteY2" fmla="*/ 9412 h 51132"/>
                <a:gd name="connsiteX3" fmla="*/ 9266 w 50974"/>
                <a:gd name="connsiteY3" fmla="*/ 45310 h 51132"/>
                <a:gd name="connsiteX4" fmla="*/ 45145 w 50974"/>
                <a:gd name="connsiteY4" fmla="*/ 41877 h 51132"/>
                <a:gd name="connsiteX5" fmla="*/ 41708 w 50974"/>
                <a:gd name="connsiteY5" fmla="*/ 5978 h 51132"/>
                <a:gd name="connsiteX6" fmla="*/ 41581 w 50974"/>
                <a:gd name="connsiteY6" fmla="*/ 5872 h 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974" h="51132">
                  <a:moveTo>
                    <a:pt x="41581" y="5872"/>
                  </a:moveTo>
                  <a:cubicBezTo>
                    <a:pt x="30944" y="-3046"/>
                    <a:pt x="15093" y="-1647"/>
                    <a:pt x="6176" y="8988"/>
                  </a:cubicBezTo>
                  <a:cubicBezTo>
                    <a:pt x="6059" y="9129"/>
                    <a:pt x="5942" y="9271"/>
                    <a:pt x="5829" y="9412"/>
                  </a:cubicBezTo>
                  <a:cubicBezTo>
                    <a:pt x="-3130" y="20281"/>
                    <a:pt x="-1590" y="36354"/>
                    <a:pt x="9266" y="45310"/>
                  </a:cubicBezTo>
                  <a:cubicBezTo>
                    <a:pt x="20119" y="54267"/>
                    <a:pt x="36186" y="52710"/>
                    <a:pt x="45145" y="41877"/>
                  </a:cubicBezTo>
                  <a:cubicBezTo>
                    <a:pt x="54104" y="31008"/>
                    <a:pt x="52564" y="14935"/>
                    <a:pt x="41708" y="5978"/>
                  </a:cubicBezTo>
                  <a:cubicBezTo>
                    <a:pt x="41666" y="5943"/>
                    <a:pt x="41623" y="5907"/>
                    <a:pt x="41581" y="587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1" name="Freihandform 360">
              <a:extLst>
                <a:ext uri="{FF2B5EF4-FFF2-40B4-BE49-F238E27FC236}">
                  <a16:creationId xmlns:a16="http://schemas.microsoft.com/office/drawing/2014/main" id="{5BB3CCEC-DAEB-4B1E-B76F-C37542DE3997}"/>
                </a:ext>
              </a:extLst>
            </p:cNvPr>
            <p:cNvSpPr/>
            <p:nvPr/>
          </p:nvSpPr>
          <p:spPr>
            <a:xfrm>
              <a:off x="-340637" y="2539525"/>
              <a:ext cx="93452" cy="93463"/>
            </a:xfrm>
            <a:custGeom>
              <a:avLst/>
              <a:gdLst>
                <a:gd name="connsiteX0" fmla="*/ 76181 w 93452"/>
                <a:gd name="connsiteY0" fmla="*/ 10458 h 93463"/>
                <a:gd name="connsiteX1" fmla="*/ 10455 w 93452"/>
                <a:gd name="connsiteY1" fmla="*/ 17290 h 93463"/>
                <a:gd name="connsiteX2" fmla="*/ 17272 w 93452"/>
                <a:gd name="connsiteY2" fmla="*/ 82998 h 93463"/>
                <a:gd name="connsiteX3" fmla="*/ 82906 w 93452"/>
                <a:gd name="connsiteY3" fmla="*/ 76307 h 93463"/>
                <a:gd name="connsiteX4" fmla="*/ 76294 w 93452"/>
                <a:gd name="connsiteY4" fmla="*/ 10564 h 93463"/>
                <a:gd name="connsiteX5" fmla="*/ 76181 w 93452"/>
                <a:gd name="connsiteY5" fmla="*/ 10458 h 93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52" h="93463">
                  <a:moveTo>
                    <a:pt x="76181" y="10458"/>
                  </a:moveTo>
                  <a:cubicBezTo>
                    <a:pt x="56149" y="-5828"/>
                    <a:pt x="26723" y="-2748"/>
                    <a:pt x="10455" y="17290"/>
                  </a:cubicBezTo>
                  <a:cubicBezTo>
                    <a:pt x="-5814" y="37328"/>
                    <a:pt x="-2759" y="66748"/>
                    <a:pt x="17272" y="82998"/>
                  </a:cubicBezTo>
                  <a:cubicBezTo>
                    <a:pt x="37261" y="99247"/>
                    <a:pt x="66613" y="96238"/>
                    <a:pt x="82906" y="76307"/>
                  </a:cubicBezTo>
                  <a:cubicBezTo>
                    <a:pt x="99235" y="56340"/>
                    <a:pt x="96276" y="26884"/>
                    <a:pt x="76294" y="10564"/>
                  </a:cubicBezTo>
                  <a:cubicBezTo>
                    <a:pt x="76255" y="10528"/>
                    <a:pt x="76220" y="10493"/>
                    <a:pt x="76181" y="1045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2" name="Freihandform 361">
              <a:extLst>
                <a:ext uri="{FF2B5EF4-FFF2-40B4-BE49-F238E27FC236}">
                  <a16:creationId xmlns:a16="http://schemas.microsoft.com/office/drawing/2014/main" id="{B0F36476-0F98-4485-89FB-1B0C47C9C071}"/>
                </a:ext>
              </a:extLst>
            </p:cNvPr>
            <p:cNvSpPr/>
            <p:nvPr/>
          </p:nvSpPr>
          <p:spPr>
            <a:xfrm rot="18498001">
              <a:off x="-930939" y="4215300"/>
              <a:ext cx="50972" cy="50979"/>
            </a:xfrm>
            <a:custGeom>
              <a:avLst/>
              <a:gdLst>
                <a:gd name="connsiteX0" fmla="*/ 50972 w 50972"/>
                <a:gd name="connsiteY0" fmla="*/ 25490 h 50979"/>
                <a:gd name="connsiteX1" fmla="*/ 25486 w 50972"/>
                <a:gd name="connsiteY1" fmla="*/ 50980 h 50979"/>
                <a:gd name="connsiteX2" fmla="*/ 0 w 50972"/>
                <a:gd name="connsiteY2" fmla="*/ 25490 h 50979"/>
                <a:gd name="connsiteX3" fmla="*/ 25486 w 50972"/>
                <a:gd name="connsiteY3" fmla="*/ 0 h 50979"/>
                <a:gd name="connsiteX4" fmla="*/ 50972 w 50972"/>
                <a:gd name="connsiteY4" fmla="*/ 25490 h 50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72" h="50979">
                  <a:moveTo>
                    <a:pt x="50972" y="25490"/>
                  </a:moveTo>
                  <a:cubicBezTo>
                    <a:pt x="50972" y="39567"/>
                    <a:pt x="39562" y="50980"/>
                    <a:pt x="25486" y="50980"/>
                  </a:cubicBezTo>
                  <a:cubicBezTo>
                    <a:pt x="11410" y="50980"/>
                    <a:pt x="0" y="39567"/>
                    <a:pt x="0" y="25490"/>
                  </a:cubicBezTo>
                  <a:cubicBezTo>
                    <a:pt x="0" y="11412"/>
                    <a:pt x="11410" y="0"/>
                    <a:pt x="25486" y="0"/>
                  </a:cubicBezTo>
                  <a:cubicBezTo>
                    <a:pt x="39562" y="0"/>
                    <a:pt x="50972" y="11412"/>
                    <a:pt x="50972" y="2549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3" name="Freihandform 362">
              <a:extLst>
                <a:ext uri="{FF2B5EF4-FFF2-40B4-BE49-F238E27FC236}">
                  <a16:creationId xmlns:a16="http://schemas.microsoft.com/office/drawing/2014/main" id="{018ED2B3-7FC8-4DB1-B863-8785FBAD07F9}"/>
                </a:ext>
              </a:extLst>
            </p:cNvPr>
            <p:cNvSpPr/>
            <p:nvPr/>
          </p:nvSpPr>
          <p:spPr>
            <a:xfrm>
              <a:off x="-1916783" y="768201"/>
              <a:ext cx="107901" cy="107627"/>
            </a:xfrm>
            <a:custGeom>
              <a:avLst/>
              <a:gdLst>
                <a:gd name="connsiteX0" fmla="*/ 88113 w 107901"/>
                <a:gd name="connsiteY0" fmla="*/ 12361 h 107627"/>
                <a:gd name="connsiteX1" fmla="*/ 12359 w 107901"/>
                <a:gd name="connsiteY1" fmla="*/ 19502 h 107627"/>
                <a:gd name="connsiteX2" fmla="*/ 19499 w 107901"/>
                <a:gd name="connsiteY2" fmla="*/ 95267 h 107627"/>
                <a:gd name="connsiteX3" fmla="*/ 95253 w 107901"/>
                <a:gd name="connsiteY3" fmla="*/ 88126 h 107627"/>
                <a:gd name="connsiteX4" fmla="*/ 95546 w 107901"/>
                <a:gd name="connsiteY4" fmla="*/ 87768 h 107627"/>
                <a:gd name="connsiteX5" fmla="*/ 88853 w 107901"/>
                <a:gd name="connsiteY5" fmla="*/ 12966 h 107627"/>
                <a:gd name="connsiteX6" fmla="*/ 88113 w 107901"/>
                <a:gd name="connsiteY6" fmla="*/ 12361 h 10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901" h="107627">
                  <a:moveTo>
                    <a:pt x="88113" y="12361"/>
                  </a:moveTo>
                  <a:cubicBezTo>
                    <a:pt x="65221" y="-6590"/>
                    <a:pt x="31307" y="-3393"/>
                    <a:pt x="12359" y="19502"/>
                  </a:cubicBezTo>
                  <a:cubicBezTo>
                    <a:pt x="-6589" y="42396"/>
                    <a:pt x="-3393" y="76316"/>
                    <a:pt x="19499" y="95267"/>
                  </a:cubicBezTo>
                  <a:cubicBezTo>
                    <a:pt x="42387" y="114217"/>
                    <a:pt x="76304" y="111021"/>
                    <a:pt x="95253" y="88126"/>
                  </a:cubicBezTo>
                  <a:cubicBezTo>
                    <a:pt x="95352" y="88009"/>
                    <a:pt x="95447" y="87889"/>
                    <a:pt x="95546" y="87768"/>
                  </a:cubicBezTo>
                  <a:cubicBezTo>
                    <a:pt x="114350" y="65263"/>
                    <a:pt x="111355" y="31776"/>
                    <a:pt x="88853" y="12966"/>
                  </a:cubicBezTo>
                  <a:cubicBezTo>
                    <a:pt x="88609" y="12764"/>
                    <a:pt x="88361" y="12559"/>
                    <a:pt x="88113" y="1236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4" name="Freihandform 363">
              <a:extLst>
                <a:ext uri="{FF2B5EF4-FFF2-40B4-BE49-F238E27FC236}">
                  <a16:creationId xmlns:a16="http://schemas.microsoft.com/office/drawing/2014/main" id="{C219FE65-8387-4F4C-AE65-18231D883B8A}"/>
                </a:ext>
              </a:extLst>
            </p:cNvPr>
            <p:cNvSpPr/>
            <p:nvPr/>
          </p:nvSpPr>
          <p:spPr>
            <a:xfrm>
              <a:off x="-948491" y="2375974"/>
              <a:ext cx="107611" cy="107623"/>
            </a:xfrm>
            <a:custGeom>
              <a:avLst/>
              <a:gdLst>
                <a:gd name="connsiteX0" fmla="*/ 87941 w 107611"/>
                <a:gd name="connsiteY0" fmla="*/ 12219 h 107623"/>
                <a:gd name="connsiteX1" fmla="*/ 12215 w 107611"/>
                <a:gd name="connsiteY1" fmla="*/ 19689 h 107623"/>
                <a:gd name="connsiteX2" fmla="*/ 19670 w 107611"/>
                <a:gd name="connsiteY2" fmla="*/ 95415 h 107623"/>
                <a:gd name="connsiteX3" fmla="*/ 95374 w 107611"/>
                <a:gd name="connsiteY3" fmla="*/ 87981 h 107623"/>
                <a:gd name="connsiteX4" fmla="*/ 87965 w 107611"/>
                <a:gd name="connsiteY4" fmla="*/ 12255 h 107623"/>
                <a:gd name="connsiteX5" fmla="*/ 87941 w 107611"/>
                <a:gd name="connsiteY5" fmla="*/ 12219 h 10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611" h="107623">
                  <a:moveTo>
                    <a:pt x="87941" y="12219"/>
                  </a:moveTo>
                  <a:cubicBezTo>
                    <a:pt x="64971" y="-6650"/>
                    <a:pt x="31068" y="-3287"/>
                    <a:pt x="12215" y="19689"/>
                  </a:cubicBezTo>
                  <a:cubicBezTo>
                    <a:pt x="-6634" y="42666"/>
                    <a:pt x="-3300" y="76546"/>
                    <a:pt x="19670" y="95415"/>
                  </a:cubicBezTo>
                  <a:cubicBezTo>
                    <a:pt x="42632" y="114250"/>
                    <a:pt x="76514" y="110922"/>
                    <a:pt x="95374" y="87981"/>
                  </a:cubicBezTo>
                  <a:cubicBezTo>
                    <a:pt x="114241" y="65005"/>
                    <a:pt x="110924" y="31124"/>
                    <a:pt x="87965" y="12255"/>
                  </a:cubicBezTo>
                  <a:cubicBezTo>
                    <a:pt x="87958" y="12219"/>
                    <a:pt x="87948" y="12219"/>
                    <a:pt x="87941" y="1221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5" name="Freihandform 364">
              <a:extLst>
                <a:ext uri="{FF2B5EF4-FFF2-40B4-BE49-F238E27FC236}">
                  <a16:creationId xmlns:a16="http://schemas.microsoft.com/office/drawing/2014/main" id="{C7005B79-AA26-41C0-8CC6-F7DA161D47A7}"/>
                </a:ext>
              </a:extLst>
            </p:cNvPr>
            <p:cNvSpPr/>
            <p:nvPr/>
          </p:nvSpPr>
          <p:spPr>
            <a:xfrm>
              <a:off x="-428673" y="4964475"/>
              <a:ext cx="107754" cy="107623"/>
            </a:xfrm>
            <a:custGeom>
              <a:avLst/>
              <a:gdLst>
                <a:gd name="connsiteX0" fmla="*/ 88113 w 107754"/>
                <a:gd name="connsiteY0" fmla="*/ 12356 h 107623"/>
                <a:gd name="connsiteX1" fmla="*/ 12359 w 107754"/>
                <a:gd name="connsiteY1" fmla="*/ 19507 h 107623"/>
                <a:gd name="connsiteX2" fmla="*/ 19499 w 107754"/>
                <a:gd name="connsiteY2" fmla="*/ 95268 h 107623"/>
                <a:gd name="connsiteX3" fmla="*/ 95253 w 107754"/>
                <a:gd name="connsiteY3" fmla="*/ 88117 h 107623"/>
                <a:gd name="connsiteX4" fmla="*/ 95546 w 107754"/>
                <a:gd name="connsiteY4" fmla="*/ 87763 h 107623"/>
                <a:gd name="connsiteX5" fmla="*/ 88301 w 107754"/>
                <a:gd name="connsiteY5" fmla="*/ 12497 h 107623"/>
                <a:gd name="connsiteX6" fmla="*/ 88113 w 107754"/>
                <a:gd name="connsiteY6" fmla="*/ 12356 h 10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754" h="107623">
                  <a:moveTo>
                    <a:pt x="88113" y="12356"/>
                  </a:moveTo>
                  <a:cubicBezTo>
                    <a:pt x="65221" y="-6585"/>
                    <a:pt x="31307" y="-3399"/>
                    <a:pt x="12359" y="19507"/>
                  </a:cubicBezTo>
                  <a:cubicBezTo>
                    <a:pt x="-6589" y="42377"/>
                    <a:pt x="-3393" y="76328"/>
                    <a:pt x="19499" y="95268"/>
                  </a:cubicBezTo>
                  <a:cubicBezTo>
                    <a:pt x="42387" y="114209"/>
                    <a:pt x="76304" y="111023"/>
                    <a:pt x="95253" y="88117"/>
                  </a:cubicBezTo>
                  <a:cubicBezTo>
                    <a:pt x="95352" y="88011"/>
                    <a:pt x="95447" y="87869"/>
                    <a:pt x="95546" y="87763"/>
                  </a:cubicBezTo>
                  <a:cubicBezTo>
                    <a:pt x="114325" y="64999"/>
                    <a:pt x="111079" y="31296"/>
                    <a:pt x="88301" y="12497"/>
                  </a:cubicBezTo>
                  <a:cubicBezTo>
                    <a:pt x="88240" y="12462"/>
                    <a:pt x="88177" y="12391"/>
                    <a:pt x="88113" y="1235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6" name="Freihandform 365">
              <a:extLst>
                <a:ext uri="{FF2B5EF4-FFF2-40B4-BE49-F238E27FC236}">
                  <a16:creationId xmlns:a16="http://schemas.microsoft.com/office/drawing/2014/main" id="{351A0284-1A15-4274-8A5D-E2AC768BF7F6}"/>
                </a:ext>
              </a:extLst>
            </p:cNvPr>
            <p:cNvSpPr/>
            <p:nvPr/>
          </p:nvSpPr>
          <p:spPr>
            <a:xfrm>
              <a:off x="-579451" y="1034320"/>
              <a:ext cx="174865" cy="174894"/>
            </a:xfrm>
            <a:custGeom>
              <a:avLst/>
              <a:gdLst>
                <a:gd name="connsiteX0" fmla="*/ 141193 w 174865"/>
                <a:gd name="connsiteY0" fmla="*/ 18488 h 174894"/>
                <a:gd name="connsiteX1" fmla="*/ 18484 w 174865"/>
                <a:gd name="connsiteY1" fmla="*/ 33679 h 174894"/>
                <a:gd name="connsiteX2" fmla="*/ 30399 w 174865"/>
                <a:gd name="connsiteY2" fmla="*/ 153725 h 174894"/>
                <a:gd name="connsiteX3" fmla="*/ 153702 w 174865"/>
                <a:gd name="connsiteY3" fmla="*/ 144489 h 174894"/>
                <a:gd name="connsiteX4" fmla="*/ 144467 w 174865"/>
                <a:gd name="connsiteY4" fmla="*/ 21171 h 174894"/>
                <a:gd name="connsiteX5" fmla="*/ 141193 w 174865"/>
                <a:gd name="connsiteY5" fmla="*/ 18488 h 174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4865" h="174894">
                  <a:moveTo>
                    <a:pt x="141193" y="18488"/>
                  </a:moveTo>
                  <a:cubicBezTo>
                    <a:pt x="103112" y="-11208"/>
                    <a:pt x="48172" y="-4404"/>
                    <a:pt x="18484" y="33679"/>
                  </a:cubicBezTo>
                  <a:cubicBezTo>
                    <a:pt x="-10195" y="70469"/>
                    <a:pt x="-4953" y="123297"/>
                    <a:pt x="30399" y="153725"/>
                  </a:cubicBezTo>
                  <a:cubicBezTo>
                    <a:pt x="66996" y="185230"/>
                    <a:pt x="122202" y="181095"/>
                    <a:pt x="153702" y="144489"/>
                  </a:cubicBezTo>
                  <a:cubicBezTo>
                    <a:pt x="185199" y="107886"/>
                    <a:pt x="181064" y="52676"/>
                    <a:pt x="144467" y="21171"/>
                  </a:cubicBezTo>
                  <a:cubicBezTo>
                    <a:pt x="143398" y="20251"/>
                    <a:pt x="142304" y="19355"/>
                    <a:pt x="141193" y="1848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8" name="Freihandform 366">
              <a:extLst>
                <a:ext uri="{FF2B5EF4-FFF2-40B4-BE49-F238E27FC236}">
                  <a16:creationId xmlns:a16="http://schemas.microsoft.com/office/drawing/2014/main" id="{79F7F1AA-B003-4E7E-A145-20A10B579F8D}"/>
                </a:ext>
              </a:extLst>
            </p:cNvPr>
            <p:cNvSpPr/>
            <p:nvPr/>
          </p:nvSpPr>
          <p:spPr>
            <a:xfrm>
              <a:off x="-203103" y="2298116"/>
              <a:ext cx="31271" cy="31122"/>
            </a:xfrm>
            <a:custGeom>
              <a:avLst/>
              <a:gdLst>
                <a:gd name="connsiteX0" fmla="*/ 25724 w 31271"/>
                <a:gd name="connsiteY0" fmla="*/ 3341 h 31122"/>
                <a:gd name="connsiteX1" fmla="*/ 3423 w 31271"/>
                <a:gd name="connsiteY1" fmla="*/ 5465 h 31122"/>
                <a:gd name="connsiteX2" fmla="*/ 5834 w 31271"/>
                <a:gd name="connsiteY2" fmla="*/ 27379 h 31122"/>
                <a:gd name="connsiteX3" fmla="*/ 5901 w 31271"/>
                <a:gd name="connsiteY3" fmla="*/ 27415 h 31122"/>
                <a:gd name="connsiteX4" fmla="*/ 27370 w 31271"/>
                <a:gd name="connsiteY4" fmla="*/ 25857 h 31122"/>
                <a:gd name="connsiteX5" fmla="*/ 27847 w 31271"/>
                <a:gd name="connsiteY5" fmla="*/ 25291 h 31122"/>
                <a:gd name="connsiteX6" fmla="*/ 25724 w 31271"/>
                <a:gd name="connsiteY6" fmla="*/ 3341 h 31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71" h="31122">
                  <a:moveTo>
                    <a:pt x="25724" y="3341"/>
                  </a:moveTo>
                  <a:cubicBezTo>
                    <a:pt x="18857" y="-1828"/>
                    <a:pt x="9197" y="-907"/>
                    <a:pt x="3423" y="5465"/>
                  </a:cubicBezTo>
                  <a:cubicBezTo>
                    <a:pt x="-1957" y="12192"/>
                    <a:pt x="-878" y="21998"/>
                    <a:pt x="5834" y="27379"/>
                  </a:cubicBezTo>
                  <a:cubicBezTo>
                    <a:pt x="5859" y="27379"/>
                    <a:pt x="5880" y="27415"/>
                    <a:pt x="5901" y="27415"/>
                  </a:cubicBezTo>
                  <a:cubicBezTo>
                    <a:pt x="12258" y="32902"/>
                    <a:pt x="21869" y="32230"/>
                    <a:pt x="27370" y="25857"/>
                  </a:cubicBezTo>
                  <a:cubicBezTo>
                    <a:pt x="27536" y="25680"/>
                    <a:pt x="27695" y="25503"/>
                    <a:pt x="27847" y="25291"/>
                  </a:cubicBezTo>
                  <a:cubicBezTo>
                    <a:pt x="33136" y="18600"/>
                    <a:pt x="32198" y="8899"/>
                    <a:pt x="25724" y="334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39" name="Freihandform 367">
              <a:extLst>
                <a:ext uri="{FF2B5EF4-FFF2-40B4-BE49-F238E27FC236}">
                  <a16:creationId xmlns:a16="http://schemas.microsoft.com/office/drawing/2014/main" id="{B83B72E9-1B12-4DD8-BF4A-4BF1B25ECF1E}"/>
                </a:ext>
              </a:extLst>
            </p:cNvPr>
            <p:cNvSpPr/>
            <p:nvPr/>
          </p:nvSpPr>
          <p:spPr>
            <a:xfrm>
              <a:off x="105472" y="3017449"/>
              <a:ext cx="77168" cy="77177"/>
            </a:xfrm>
            <a:custGeom>
              <a:avLst/>
              <a:gdLst>
                <a:gd name="connsiteX0" fmla="*/ 62981 w 77168"/>
                <a:gd name="connsiteY0" fmla="*/ 8699 h 77177"/>
                <a:gd name="connsiteX1" fmla="*/ 8692 w 77168"/>
                <a:gd name="connsiteY1" fmla="*/ 14186 h 77177"/>
                <a:gd name="connsiteX2" fmla="*/ 14189 w 77168"/>
                <a:gd name="connsiteY2" fmla="*/ 68494 h 77177"/>
                <a:gd name="connsiteX3" fmla="*/ 68291 w 77168"/>
                <a:gd name="connsiteY3" fmla="*/ 63219 h 77177"/>
                <a:gd name="connsiteX4" fmla="*/ 63204 w 77168"/>
                <a:gd name="connsiteY4" fmla="*/ 8876 h 77177"/>
                <a:gd name="connsiteX5" fmla="*/ 62981 w 77168"/>
                <a:gd name="connsiteY5" fmla="*/ 8699 h 77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168" h="77177">
                  <a:moveTo>
                    <a:pt x="62981" y="8699"/>
                  </a:moveTo>
                  <a:cubicBezTo>
                    <a:pt x="46472" y="-4790"/>
                    <a:pt x="22168" y="-2312"/>
                    <a:pt x="8692" y="14186"/>
                  </a:cubicBezTo>
                  <a:cubicBezTo>
                    <a:pt x="-4780" y="30719"/>
                    <a:pt x="-2320" y="55006"/>
                    <a:pt x="14189" y="68494"/>
                  </a:cubicBezTo>
                  <a:cubicBezTo>
                    <a:pt x="30607" y="81876"/>
                    <a:pt x="54765" y="79540"/>
                    <a:pt x="68291" y="63219"/>
                  </a:cubicBezTo>
                  <a:cubicBezTo>
                    <a:pt x="81890" y="46827"/>
                    <a:pt x="79611" y="22470"/>
                    <a:pt x="63204" y="8876"/>
                  </a:cubicBezTo>
                  <a:cubicBezTo>
                    <a:pt x="63130" y="8805"/>
                    <a:pt x="63055" y="8770"/>
                    <a:pt x="62981" y="869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0" name="Freihandform 368">
              <a:extLst>
                <a:ext uri="{FF2B5EF4-FFF2-40B4-BE49-F238E27FC236}">
                  <a16:creationId xmlns:a16="http://schemas.microsoft.com/office/drawing/2014/main" id="{E2810293-8896-40DC-9DA2-37CE430B01C4}"/>
                </a:ext>
              </a:extLst>
            </p:cNvPr>
            <p:cNvSpPr/>
            <p:nvPr/>
          </p:nvSpPr>
          <p:spPr>
            <a:xfrm>
              <a:off x="-551900" y="3931718"/>
              <a:ext cx="31189" cy="31206"/>
            </a:xfrm>
            <a:custGeom>
              <a:avLst/>
              <a:gdLst>
                <a:gd name="connsiteX0" fmla="*/ 25502 w 31189"/>
                <a:gd name="connsiteY0" fmla="*/ 3568 h 31206"/>
                <a:gd name="connsiteX1" fmla="*/ 3577 w 31189"/>
                <a:gd name="connsiteY1" fmla="*/ 5656 h 31206"/>
                <a:gd name="connsiteX2" fmla="*/ 3556 w 31189"/>
                <a:gd name="connsiteY2" fmla="*/ 5692 h 31206"/>
                <a:gd name="connsiteX3" fmla="*/ 5680 w 31189"/>
                <a:gd name="connsiteY3" fmla="*/ 27641 h 31206"/>
                <a:gd name="connsiteX4" fmla="*/ 27626 w 31189"/>
                <a:gd name="connsiteY4" fmla="*/ 25517 h 31206"/>
                <a:gd name="connsiteX5" fmla="*/ 25527 w 31189"/>
                <a:gd name="connsiteY5" fmla="*/ 3603 h 31206"/>
                <a:gd name="connsiteX6" fmla="*/ 25502 w 31189"/>
                <a:gd name="connsiteY6" fmla="*/ 3568 h 31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89" h="31206">
                  <a:moveTo>
                    <a:pt x="25502" y="3568"/>
                  </a:moveTo>
                  <a:cubicBezTo>
                    <a:pt x="18869" y="-1920"/>
                    <a:pt x="9053" y="-964"/>
                    <a:pt x="3577" y="5656"/>
                  </a:cubicBezTo>
                  <a:cubicBezTo>
                    <a:pt x="3570" y="5692"/>
                    <a:pt x="3563" y="5692"/>
                    <a:pt x="3556" y="5692"/>
                  </a:cubicBezTo>
                  <a:cubicBezTo>
                    <a:pt x="-1917" y="12347"/>
                    <a:pt x="-968" y="22154"/>
                    <a:pt x="5680" y="27641"/>
                  </a:cubicBezTo>
                  <a:cubicBezTo>
                    <a:pt x="12327" y="33129"/>
                    <a:pt x="22154" y="32173"/>
                    <a:pt x="27626" y="25517"/>
                  </a:cubicBezTo>
                  <a:cubicBezTo>
                    <a:pt x="33102" y="18897"/>
                    <a:pt x="32161" y="9055"/>
                    <a:pt x="25527" y="3603"/>
                  </a:cubicBezTo>
                  <a:cubicBezTo>
                    <a:pt x="25520" y="3568"/>
                    <a:pt x="25509" y="3568"/>
                    <a:pt x="25502" y="356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2" name="Freihandform 369">
              <a:extLst>
                <a:ext uri="{FF2B5EF4-FFF2-40B4-BE49-F238E27FC236}">
                  <a16:creationId xmlns:a16="http://schemas.microsoft.com/office/drawing/2014/main" id="{FA2B7983-5F23-4D52-8D5B-12AA24695C84}"/>
                </a:ext>
              </a:extLst>
            </p:cNvPr>
            <p:cNvSpPr/>
            <p:nvPr/>
          </p:nvSpPr>
          <p:spPr>
            <a:xfrm>
              <a:off x="-516534" y="3998848"/>
              <a:ext cx="44746" cy="44613"/>
            </a:xfrm>
            <a:custGeom>
              <a:avLst/>
              <a:gdLst>
                <a:gd name="connsiteX0" fmla="*/ 36506 w 44746"/>
                <a:gd name="connsiteY0" fmla="*/ 5119 h 44613"/>
                <a:gd name="connsiteX1" fmla="*/ 5109 w 44746"/>
                <a:gd name="connsiteY1" fmla="*/ 8093 h 44613"/>
                <a:gd name="connsiteX2" fmla="*/ 8096 w 44746"/>
                <a:gd name="connsiteY2" fmla="*/ 39495 h 44613"/>
                <a:gd name="connsiteX3" fmla="*/ 39490 w 44746"/>
                <a:gd name="connsiteY3" fmla="*/ 36521 h 44613"/>
                <a:gd name="connsiteX4" fmla="*/ 39692 w 44746"/>
                <a:gd name="connsiteY4" fmla="*/ 36273 h 44613"/>
                <a:gd name="connsiteX5" fmla="*/ 36811 w 44746"/>
                <a:gd name="connsiteY5" fmla="*/ 5366 h 44613"/>
                <a:gd name="connsiteX6" fmla="*/ 36506 w 44746"/>
                <a:gd name="connsiteY6" fmla="*/ 5119 h 44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746" h="44613">
                  <a:moveTo>
                    <a:pt x="36506" y="5119"/>
                  </a:moveTo>
                  <a:cubicBezTo>
                    <a:pt x="27013" y="-2740"/>
                    <a:pt x="12956" y="-1395"/>
                    <a:pt x="5109" y="8093"/>
                  </a:cubicBezTo>
                  <a:cubicBezTo>
                    <a:pt x="-2735" y="17616"/>
                    <a:pt x="-1397" y="31671"/>
                    <a:pt x="8096" y="39495"/>
                  </a:cubicBezTo>
                  <a:cubicBezTo>
                    <a:pt x="17590" y="47354"/>
                    <a:pt x="31646" y="46009"/>
                    <a:pt x="39490" y="36521"/>
                  </a:cubicBezTo>
                  <a:cubicBezTo>
                    <a:pt x="39558" y="36450"/>
                    <a:pt x="39625" y="36344"/>
                    <a:pt x="39692" y="36273"/>
                  </a:cubicBezTo>
                  <a:cubicBezTo>
                    <a:pt x="47430" y="26927"/>
                    <a:pt x="46138" y="13120"/>
                    <a:pt x="36811" y="5366"/>
                  </a:cubicBezTo>
                  <a:cubicBezTo>
                    <a:pt x="36708" y="5296"/>
                    <a:pt x="36609" y="5190"/>
                    <a:pt x="36506" y="511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3" name="Freihandform 370">
              <a:extLst>
                <a:ext uri="{FF2B5EF4-FFF2-40B4-BE49-F238E27FC236}">
                  <a16:creationId xmlns:a16="http://schemas.microsoft.com/office/drawing/2014/main" id="{A91C48A7-0488-4668-BF4F-16D2370995CC}"/>
                </a:ext>
              </a:extLst>
            </p:cNvPr>
            <p:cNvSpPr/>
            <p:nvPr/>
          </p:nvSpPr>
          <p:spPr>
            <a:xfrm>
              <a:off x="-540203" y="2136836"/>
              <a:ext cx="19114" cy="19117"/>
            </a:xfrm>
            <a:custGeom>
              <a:avLst/>
              <a:gdLst>
                <a:gd name="connsiteX0" fmla="*/ 19115 w 19114"/>
                <a:gd name="connsiteY0" fmla="*/ 9559 h 19117"/>
                <a:gd name="connsiteX1" fmla="*/ 9557 w 19114"/>
                <a:gd name="connsiteY1" fmla="*/ 19117 h 19117"/>
                <a:gd name="connsiteX2" fmla="*/ 0 w 19114"/>
                <a:gd name="connsiteY2" fmla="*/ 9559 h 19117"/>
                <a:gd name="connsiteX3" fmla="*/ 9557 w 19114"/>
                <a:gd name="connsiteY3" fmla="*/ 0 h 19117"/>
                <a:gd name="connsiteX4" fmla="*/ 19115 w 19114"/>
                <a:gd name="connsiteY4" fmla="*/ 9559 h 19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14" h="19117">
                  <a:moveTo>
                    <a:pt x="19115" y="9559"/>
                  </a:moveTo>
                  <a:cubicBezTo>
                    <a:pt x="19115" y="14838"/>
                    <a:pt x="14836" y="19117"/>
                    <a:pt x="9557" y="19117"/>
                  </a:cubicBezTo>
                  <a:cubicBezTo>
                    <a:pt x="4279" y="19117"/>
                    <a:pt x="0" y="14838"/>
                    <a:pt x="0" y="9559"/>
                  </a:cubicBezTo>
                  <a:cubicBezTo>
                    <a:pt x="0" y="4280"/>
                    <a:pt x="4279" y="0"/>
                    <a:pt x="9557" y="0"/>
                  </a:cubicBezTo>
                  <a:cubicBezTo>
                    <a:pt x="14835" y="0"/>
                    <a:pt x="19115" y="4279"/>
                    <a:pt x="19115" y="955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4" name="Freihandform 371">
              <a:extLst>
                <a:ext uri="{FF2B5EF4-FFF2-40B4-BE49-F238E27FC236}">
                  <a16:creationId xmlns:a16="http://schemas.microsoft.com/office/drawing/2014/main" id="{38CD4528-C839-4EA5-AB1D-E5B83D4FEE2B}"/>
                </a:ext>
              </a:extLst>
            </p:cNvPr>
            <p:cNvSpPr/>
            <p:nvPr/>
          </p:nvSpPr>
          <p:spPr>
            <a:xfrm>
              <a:off x="-1716226" y="2522248"/>
              <a:ext cx="19923" cy="20098"/>
            </a:xfrm>
            <a:custGeom>
              <a:avLst/>
              <a:gdLst>
                <a:gd name="connsiteX0" fmla="*/ 16402 w 19923"/>
                <a:gd name="connsiteY0" fmla="*/ 2245 h 20098"/>
                <a:gd name="connsiteX1" fmla="*/ 3418 w 19923"/>
                <a:gd name="connsiteY1" fmla="*/ 3166 h 20098"/>
                <a:gd name="connsiteX2" fmla="*/ 3305 w 19923"/>
                <a:gd name="connsiteY2" fmla="*/ 3307 h 20098"/>
                <a:gd name="connsiteX3" fmla="*/ 2328 w 19923"/>
                <a:gd name="connsiteY3" fmla="*/ 16795 h 20098"/>
                <a:gd name="connsiteX4" fmla="*/ 15811 w 19923"/>
                <a:gd name="connsiteY4" fmla="*/ 17751 h 20098"/>
                <a:gd name="connsiteX5" fmla="*/ 17818 w 19923"/>
                <a:gd name="connsiteY5" fmla="*/ 15344 h 20098"/>
                <a:gd name="connsiteX6" fmla="*/ 16576 w 19923"/>
                <a:gd name="connsiteY6" fmla="*/ 2387 h 20098"/>
                <a:gd name="connsiteX7" fmla="*/ 16402 w 19923"/>
                <a:gd name="connsiteY7" fmla="*/ 2245 h 20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923" h="20098">
                  <a:moveTo>
                    <a:pt x="16402" y="2245"/>
                  </a:moveTo>
                  <a:cubicBezTo>
                    <a:pt x="12562" y="-1083"/>
                    <a:pt x="6749" y="-658"/>
                    <a:pt x="3418" y="3166"/>
                  </a:cubicBezTo>
                  <a:cubicBezTo>
                    <a:pt x="3379" y="3201"/>
                    <a:pt x="3344" y="3272"/>
                    <a:pt x="3305" y="3307"/>
                  </a:cubicBezTo>
                  <a:cubicBezTo>
                    <a:pt x="-688" y="6777"/>
                    <a:pt x="-1123" y="12795"/>
                    <a:pt x="2328" y="16795"/>
                  </a:cubicBezTo>
                  <a:cubicBezTo>
                    <a:pt x="5783" y="20796"/>
                    <a:pt x="11818" y="21221"/>
                    <a:pt x="15811" y="17751"/>
                  </a:cubicBezTo>
                  <a:cubicBezTo>
                    <a:pt x="16607" y="17079"/>
                    <a:pt x="17287" y="16265"/>
                    <a:pt x="17818" y="15344"/>
                  </a:cubicBezTo>
                  <a:cubicBezTo>
                    <a:pt x="21053" y="11414"/>
                    <a:pt x="20498" y="5609"/>
                    <a:pt x="16576" y="2387"/>
                  </a:cubicBezTo>
                  <a:cubicBezTo>
                    <a:pt x="16519" y="2351"/>
                    <a:pt x="16462" y="2280"/>
                    <a:pt x="16402" y="2245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5" name="Freihandform 372">
              <a:extLst>
                <a:ext uri="{FF2B5EF4-FFF2-40B4-BE49-F238E27FC236}">
                  <a16:creationId xmlns:a16="http://schemas.microsoft.com/office/drawing/2014/main" id="{354224D9-989A-4224-8B49-5B2C9C879FF5}"/>
                </a:ext>
              </a:extLst>
            </p:cNvPr>
            <p:cNvSpPr/>
            <p:nvPr/>
          </p:nvSpPr>
          <p:spPr>
            <a:xfrm>
              <a:off x="-1875189" y="1353964"/>
              <a:ext cx="20167" cy="20108"/>
            </a:xfrm>
            <a:custGeom>
              <a:avLst/>
              <a:gdLst>
                <a:gd name="connsiteX0" fmla="*/ 16786 w 20167"/>
                <a:gd name="connsiteY0" fmla="*/ 3306 h 20108"/>
                <a:gd name="connsiteX1" fmla="*/ 3307 w 20167"/>
                <a:gd name="connsiteY1" fmla="*/ 2329 h 20108"/>
                <a:gd name="connsiteX2" fmla="*/ 2330 w 20167"/>
                <a:gd name="connsiteY2" fmla="*/ 15813 h 20108"/>
                <a:gd name="connsiteX3" fmla="*/ 4751 w 20167"/>
                <a:gd name="connsiteY3" fmla="*/ 17821 h 20108"/>
                <a:gd name="connsiteX4" fmla="*/ 17738 w 20167"/>
                <a:gd name="connsiteY4" fmla="*/ 16978 h 20108"/>
                <a:gd name="connsiteX5" fmla="*/ 18202 w 20167"/>
                <a:gd name="connsiteY5" fmla="*/ 16404 h 20108"/>
                <a:gd name="connsiteX6" fmla="*/ 16786 w 20167"/>
                <a:gd name="connsiteY6" fmla="*/ 3306 h 20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67" h="20108">
                  <a:moveTo>
                    <a:pt x="16786" y="3306"/>
                  </a:moveTo>
                  <a:cubicBezTo>
                    <a:pt x="13331" y="-688"/>
                    <a:pt x="7296" y="-1123"/>
                    <a:pt x="3307" y="2329"/>
                  </a:cubicBezTo>
                  <a:cubicBezTo>
                    <a:pt x="-686" y="5784"/>
                    <a:pt x="-1125" y="11820"/>
                    <a:pt x="2330" y="15813"/>
                  </a:cubicBezTo>
                  <a:cubicBezTo>
                    <a:pt x="3020" y="16610"/>
                    <a:pt x="3837" y="17290"/>
                    <a:pt x="4751" y="17821"/>
                  </a:cubicBezTo>
                  <a:cubicBezTo>
                    <a:pt x="8570" y="21173"/>
                    <a:pt x="14386" y="20798"/>
                    <a:pt x="17738" y="16978"/>
                  </a:cubicBezTo>
                  <a:cubicBezTo>
                    <a:pt x="17901" y="16794"/>
                    <a:pt x="18057" y="16603"/>
                    <a:pt x="18202" y="16404"/>
                  </a:cubicBezTo>
                  <a:cubicBezTo>
                    <a:pt x="21296" y="12358"/>
                    <a:pt x="20673" y="6598"/>
                    <a:pt x="16786" y="330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6" name="Freihandform 373">
              <a:extLst>
                <a:ext uri="{FF2B5EF4-FFF2-40B4-BE49-F238E27FC236}">
                  <a16:creationId xmlns:a16="http://schemas.microsoft.com/office/drawing/2014/main" id="{7EA41351-1DB9-4F08-B72B-A00FDB4A8903}"/>
                </a:ext>
              </a:extLst>
            </p:cNvPr>
            <p:cNvSpPr/>
            <p:nvPr/>
          </p:nvSpPr>
          <p:spPr>
            <a:xfrm>
              <a:off x="-1192727" y="2638013"/>
              <a:ext cx="20126" cy="20069"/>
            </a:xfrm>
            <a:custGeom>
              <a:avLst/>
              <a:gdLst>
                <a:gd name="connsiteX0" fmla="*/ 16786 w 20126"/>
                <a:gd name="connsiteY0" fmla="*/ 3309 h 20069"/>
                <a:gd name="connsiteX1" fmla="*/ 3307 w 20126"/>
                <a:gd name="connsiteY1" fmla="*/ 2317 h 20069"/>
                <a:gd name="connsiteX2" fmla="*/ 2330 w 20126"/>
                <a:gd name="connsiteY2" fmla="*/ 15806 h 20069"/>
                <a:gd name="connsiteX3" fmla="*/ 4751 w 20126"/>
                <a:gd name="connsiteY3" fmla="*/ 17824 h 20069"/>
                <a:gd name="connsiteX4" fmla="*/ 17735 w 20126"/>
                <a:gd name="connsiteY4" fmla="*/ 16903 h 20069"/>
                <a:gd name="connsiteX5" fmla="*/ 17848 w 20126"/>
                <a:gd name="connsiteY5" fmla="*/ 16762 h 20069"/>
                <a:gd name="connsiteX6" fmla="*/ 16786 w 20126"/>
                <a:gd name="connsiteY6" fmla="*/ 3309 h 20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26" h="20069">
                  <a:moveTo>
                    <a:pt x="16786" y="3309"/>
                  </a:moveTo>
                  <a:cubicBezTo>
                    <a:pt x="13331" y="-692"/>
                    <a:pt x="7296" y="-1116"/>
                    <a:pt x="3307" y="2317"/>
                  </a:cubicBezTo>
                  <a:cubicBezTo>
                    <a:pt x="-686" y="5787"/>
                    <a:pt x="-1125" y="11806"/>
                    <a:pt x="2330" y="15806"/>
                  </a:cubicBezTo>
                  <a:cubicBezTo>
                    <a:pt x="3020" y="16620"/>
                    <a:pt x="3837" y="17293"/>
                    <a:pt x="4751" y="17824"/>
                  </a:cubicBezTo>
                  <a:cubicBezTo>
                    <a:pt x="8591" y="21152"/>
                    <a:pt x="14404" y="20727"/>
                    <a:pt x="17735" y="16903"/>
                  </a:cubicBezTo>
                  <a:cubicBezTo>
                    <a:pt x="17773" y="16868"/>
                    <a:pt x="17809" y="16797"/>
                    <a:pt x="17848" y="16762"/>
                  </a:cubicBezTo>
                  <a:cubicBezTo>
                    <a:pt x="21260" y="12762"/>
                    <a:pt x="20786" y="6743"/>
                    <a:pt x="16786" y="330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7" name="Freihandform 374">
              <a:extLst>
                <a:ext uri="{FF2B5EF4-FFF2-40B4-BE49-F238E27FC236}">
                  <a16:creationId xmlns:a16="http://schemas.microsoft.com/office/drawing/2014/main" id="{15658048-3EBC-4ED0-BB01-4D2F45BF4803}"/>
                </a:ext>
              </a:extLst>
            </p:cNvPr>
            <p:cNvSpPr/>
            <p:nvPr/>
          </p:nvSpPr>
          <p:spPr>
            <a:xfrm>
              <a:off x="161148" y="4653866"/>
              <a:ext cx="35569" cy="35586"/>
            </a:xfrm>
            <a:custGeom>
              <a:avLst/>
              <a:gdLst>
                <a:gd name="connsiteX0" fmla="*/ 29251 w 35569"/>
                <a:gd name="connsiteY0" fmla="*/ 3986 h 35586"/>
                <a:gd name="connsiteX1" fmla="*/ 4119 w 35569"/>
                <a:gd name="connsiteY1" fmla="*/ 6464 h 35586"/>
                <a:gd name="connsiteX2" fmla="*/ 6349 w 35569"/>
                <a:gd name="connsiteY2" fmla="*/ 31387 h 35586"/>
                <a:gd name="connsiteX3" fmla="*/ 6597 w 35569"/>
                <a:gd name="connsiteY3" fmla="*/ 31600 h 35586"/>
                <a:gd name="connsiteX4" fmla="*/ 31729 w 35569"/>
                <a:gd name="connsiteY4" fmla="*/ 29122 h 35586"/>
                <a:gd name="connsiteX5" fmla="*/ 29251 w 35569"/>
                <a:gd name="connsiteY5" fmla="*/ 3986 h 3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569" h="35586">
                  <a:moveTo>
                    <a:pt x="29251" y="3986"/>
                  </a:moveTo>
                  <a:cubicBezTo>
                    <a:pt x="21595" y="-2174"/>
                    <a:pt x="10427" y="-1076"/>
                    <a:pt x="4119" y="6464"/>
                  </a:cubicBezTo>
                  <a:cubicBezTo>
                    <a:pt x="-2149" y="13970"/>
                    <a:pt x="-1151" y="25122"/>
                    <a:pt x="6349" y="31387"/>
                  </a:cubicBezTo>
                  <a:cubicBezTo>
                    <a:pt x="6431" y="31458"/>
                    <a:pt x="6516" y="31529"/>
                    <a:pt x="6597" y="31600"/>
                  </a:cubicBezTo>
                  <a:cubicBezTo>
                    <a:pt x="14254" y="37760"/>
                    <a:pt x="25422" y="36663"/>
                    <a:pt x="31729" y="29122"/>
                  </a:cubicBezTo>
                  <a:cubicBezTo>
                    <a:pt x="37687" y="21404"/>
                    <a:pt x="36600" y="10394"/>
                    <a:pt x="29251" y="398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8" name="Freihandform 375">
              <a:extLst>
                <a:ext uri="{FF2B5EF4-FFF2-40B4-BE49-F238E27FC236}">
                  <a16:creationId xmlns:a16="http://schemas.microsoft.com/office/drawing/2014/main" id="{EB98F5CF-D124-402F-9ED0-AD60556398A2}"/>
                </a:ext>
              </a:extLst>
            </p:cNvPr>
            <p:cNvSpPr/>
            <p:nvPr/>
          </p:nvSpPr>
          <p:spPr>
            <a:xfrm>
              <a:off x="-87342" y="2549480"/>
              <a:ext cx="18829" cy="18920"/>
            </a:xfrm>
            <a:custGeom>
              <a:avLst/>
              <a:gdLst>
                <a:gd name="connsiteX0" fmla="*/ 15449 w 18829"/>
                <a:gd name="connsiteY0" fmla="*/ 2273 h 18920"/>
                <a:gd name="connsiteX1" fmla="*/ 1998 w 18829"/>
                <a:gd name="connsiteY1" fmla="*/ 3335 h 18920"/>
                <a:gd name="connsiteX2" fmla="*/ 3413 w 18829"/>
                <a:gd name="connsiteY2" fmla="*/ 16788 h 18920"/>
                <a:gd name="connsiteX3" fmla="*/ 16857 w 18829"/>
                <a:gd name="connsiteY3" fmla="*/ 15372 h 18920"/>
                <a:gd name="connsiteX4" fmla="*/ 16865 w 18829"/>
                <a:gd name="connsiteY4" fmla="*/ 15372 h 18920"/>
                <a:gd name="connsiteX5" fmla="*/ 15449 w 18829"/>
                <a:gd name="connsiteY5" fmla="*/ 2273 h 18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829" h="18920">
                  <a:moveTo>
                    <a:pt x="15449" y="2273"/>
                  </a:moveTo>
                  <a:cubicBezTo>
                    <a:pt x="11438" y="-1126"/>
                    <a:pt x="5424" y="-665"/>
                    <a:pt x="1998" y="3335"/>
                  </a:cubicBezTo>
                  <a:cubicBezTo>
                    <a:pt x="-1139" y="7513"/>
                    <a:pt x="-519" y="13389"/>
                    <a:pt x="3413" y="16788"/>
                  </a:cubicBezTo>
                  <a:cubicBezTo>
                    <a:pt x="7513" y="20116"/>
                    <a:pt x="13534" y="19479"/>
                    <a:pt x="16857" y="15372"/>
                  </a:cubicBezTo>
                  <a:cubicBezTo>
                    <a:pt x="16857" y="15372"/>
                    <a:pt x="16861" y="15372"/>
                    <a:pt x="16865" y="15372"/>
                  </a:cubicBezTo>
                  <a:cubicBezTo>
                    <a:pt x="19958" y="11336"/>
                    <a:pt x="19335" y="5565"/>
                    <a:pt x="15449" y="22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49" name="Freihandform 376">
              <a:extLst>
                <a:ext uri="{FF2B5EF4-FFF2-40B4-BE49-F238E27FC236}">
                  <a16:creationId xmlns:a16="http://schemas.microsoft.com/office/drawing/2014/main" id="{F7DFB1E7-02E7-4318-8A87-A31335C3C034}"/>
                </a:ext>
              </a:extLst>
            </p:cNvPr>
            <p:cNvSpPr/>
            <p:nvPr/>
          </p:nvSpPr>
          <p:spPr>
            <a:xfrm>
              <a:off x="80348" y="2534258"/>
              <a:ext cx="32673" cy="32550"/>
            </a:xfrm>
            <a:custGeom>
              <a:avLst/>
              <a:gdLst>
                <a:gd name="connsiteX0" fmla="*/ 26513 w 32673"/>
                <a:gd name="connsiteY0" fmla="*/ 3688 h 32550"/>
                <a:gd name="connsiteX1" fmla="*/ 3151 w 32673"/>
                <a:gd name="connsiteY1" fmla="*/ 6166 h 32550"/>
                <a:gd name="connsiteX2" fmla="*/ 6900 w 32673"/>
                <a:gd name="connsiteY2" fmla="*/ 29390 h 32550"/>
                <a:gd name="connsiteX3" fmla="*/ 28991 w 32673"/>
                <a:gd name="connsiteY3" fmla="*/ 27054 h 32550"/>
                <a:gd name="connsiteX4" fmla="*/ 26513 w 32673"/>
                <a:gd name="connsiteY4" fmla="*/ 3688 h 3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73" h="32550">
                  <a:moveTo>
                    <a:pt x="26513" y="3688"/>
                  </a:moveTo>
                  <a:cubicBezTo>
                    <a:pt x="19374" y="-2083"/>
                    <a:pt x="8925" y="-950"/>
                    <a:pt x="3151" y="6166"/>
                  </a:cubicBezTo>
                  <a:cubicBezTo>
                    <a:pt x="-2229" y="13600"/>
                    <a:pt x="-551" y="24009"/>
                    <a:pt x="6900" y="29390"/>
                  </a:cubicBezTo>
                  <a:cubicBezTo>
                    <a:pt x="13781" y="34382"/>
                    <a:pt x="23303" y="33355"/>
                    <a:pt x="28991" y="27054"/>
                  </a:cubicBezTo>
                  <a:cubicBezTo>
                    <a:pt x="34743" y="19902"/>
                    <a:pt x="33636" y="9459"/>
                    <a:pt x="26513" y="368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0" name="Freihandform 377">
              <a:extLst>
                <a:ext uri="{FF2B5EF4-FFF2-40B4-BE49-F238E27FC236}">
                  <a16:creationId xmlns:a16="http://schemas.microsoft.com/office/drawing/2014/main" id="{1F3206D5-5869-481D-949F-4A961A7BF570}"/>
                </a:ext>
              </a:extLst>
            </p:cNvPr>
            <p:cNvSpPr/>
            <p:nvPr/>
          </p:nvSpPr>
          <p:spPr>
            <a:xfrm>
              <a:off x="90583" y="2841045"/>
              <a:ext cx="45784" cy="45720"/>
            </a:xfrm>
            <a:custGeom>
              <a:avLst/>
              <a:gdLst>
                <a:gd name="connsiteX0" fmla="*/ 37516 w 45784"/>
                <a:gd name="connsiteY0" fmla="*/ 5259 h 45720"/>
                <a:gd name="connsiteX1" fmla="*/ 5659 w 45784"/>
                <a:gd name="connsiteY1" fmla="*/ 8091 h 45720"/>
                <a:gd name="connsiteX2" fmla="*/ 7676 w 45784"/>
                <a:gd name="connsiteY2" fmla="*/ 40059 h 45720"/>
                <a:gd name="connsiteX3" fmla="*/ 39651 w 45784"/>
                <a:gd name="connsiteY3" fmla="*/ 38041 h 45720"/>
                <a:gd name="connsiteX4" fmla="*/ 40702 w 45784"/>
                <a:gd name="connsiteY4" fmla="*/ 36767 h 45720"/>
                <a:gd name="connsiteX5" fmla="*/ 37655 w 45784"/>
                <a:gd name="connsiteY5" fmla="*/ 5365 h 45720"/>
                <a:gd name="connsiteX6" fmla="*/ 37516 w 45784"/>
                <a:gd name="connsiteY6" fmla="*/ 5259 h 45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784" h="45720">
                  <a:moveTo>
                    <a:pt x="37516" y="5259"/>
                  </a:moveTo>
                  <a:cubicBezTo>
                    <a:pt x="27931" y="-2742"/>
                    <a:pt x="13683" y="-1468"/>
                    <a:pt x="5659" y="8091"/>
                  </a:cubicBezTo>
                  <a:cubicBezTo>
                    <a:pt x="-2614" y="17472"/>
                    <a:pt x="-1711" y="31811"/>
                    <a:pt x="7676" y="40059"/>
                  </a:cubicBezTo>
                  <a:cubicBezTo>
                    <a:pt x="17064" y="48344"/>
                    <a:pt x="31378" y="47423"/>
                    <a:pt x="39651" y="38041"/>
                  </a:cubicBezTo>
                  <a:cubicBezTo>
                    <a:pt x="40015" y="37652"/>
                    <a:pt x="40366" y="37192"/>
                    <a:pt x="40702" y="36767"/>
                  </a:cubicBezTo>
                  <a:cubicBezTo>
                    <a:pt x="48529" y="27244"/>
                    <a:pt x="47166" y="13189"/>
                    <a:pt x="37655" y="5365"/>
                  </a:cubicBezTo>
                  <a:cubicBezTo>
                    <a:pt x="37608" y="5330"/>
                    <a:pt x="37562" y="5294"/>
                    <a:pt x="37516" y="525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1" name="Freihandform 378">
              <a:extLst>
                <a:ext uri="{FF2B5EF4-FFF2-40B4-BE49-F238E27FC236}">
                  <a16:creationId xmlns:a16="http://schemas.microsoft.com/office/drawing/2014/main" id="{88B1C673-CE6B-4682-9000-6F6224968E7A}"/>
                </a:ext>
              </a:extLst>
            </p:cNvPr>
            <p:cNvSpPr/>
            <p:nvPr/>
          </p:nvSpPr>
          <p:spPr>
            <a:xfrm rot="18365999">
              <a:off x="-1178721" y="3974720"/>
              <a:ext cx="159996" cy="160019"/>
            </a:xfrm>
            <a:custGeom>
              <a:avLst/>
              <a:gdLst>
                <a:gd name="connsiteX0" fmla="*/ 159996 w 159996"/>
                <a:gd name="connsiteY0" fmla="*/ 80010 h 160019"/>
                <a:gd name="connsiteX1" fmla="*/ 79998 w 159996"/>
                <a:gd name="connsiteY1" fmla="*/ 160020 h 160019"/>
                <a:gd name="connsiteX2" fmla="*/ 0 w 159996"/>
                <a:gd name="connsiteY2" fmla="*/ 80010 h 160019"/>
                <a:gd name="connsiteX3" fmla="*/ 79998 w 159996"/>
                <a:gd name="connsiteY3" fmla="*/ 0 h 160019"/>
                <a:gd name="connsiteX4" fmla="*/ 159996 w 159996"/>
                <a:gd name="connsiteY4" fmla="*/ 80010 h 16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996" h="160019">
                  <a:moveTo>
                    <a:pt x="159996" y="80010"/>
                  </a:moveTo>
                  <a:cubicBezTo>
                    <a:pt x="159996" y="124198"/>
                    <a:pt x="124180" y="160020"/>
                    <a:pt x="79998" y="160020"/>
                  </a:cubicBezTo>
                  <a:cubicBezTo>
                    <a:pt x="35816" y="160020"/>
                    <a:pt x="0" y="124198"/>
                    <a:pt x="0" y="80010"/>
                  </a:cubicBezTo>
                  <a:cubicBezTo>
                    <a:pt x="0" y="35821"/>
                    <a:pt x="35816" y="0"/>
                    <a:pt x="79998" y="0"/>
                  </a:cubicBezTo>
                  <a:cubicBezTo>
                    <a:pt x="124180" y="0"/>
                    <a:pt x="159996" y="35822"/>
                    <a:pt x="159996" y="8001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2" name="Freihandform 379">
              <a:extLst>
                <a:ext uri="{FF2B5EF4-FFF2-40B4-BE49-F238E27FC236}">
                  <a16:creationId xmlns:a16="http://schemas.microsoft.com/office/drawing/2014/main" id="{66984DAF-1678-47ED-AA5E-084C7C3994E0}"/>
                </a:ext>
              </a:extLst>
            </p:cNvPr>
            <p:cNvSpPr/>
            <p:nvPr/>
          </p:nvSpPr>
          <p:spPr>
            <a:xfrm>
              <a:off x="-1360353" y="2568030"/>
              <a:ext cx="18979" cy="19134"/>
            </a:xfrm>
            <a:custGeom>
              <a:avLst/>
              <a:gdLst>
                <a:gd name="connsiteX0" fmla="*/ 15566 w 18979"/>
                <a:gd name="connsiteY0" fmla="*/ 2133 h 19134"/>
                <a:gd name="connsiteX1" fmla="*/ 2126 w 18979"/>
                <a:gd name="connsiteY1" fmla="*/ 3549 h 19134"/>
                <a:gd name="connsiteX2" fmla="*/ 3549 w 18979"/>
                <a:gd name="connsiteY2" fmla="*/ 17002 h 19134"/>
                <a:gd name="connsiteX3" fmla="*/ 16982 w 18979"/>
                <a:gd name="connsiteY3" fmla="*/ 15586 h 19134"/>
                <a:gd name="connsiteX4" fmla="*/ 15566 w 18979"/>
                <a:gd name="connsiteY4" fmla="*/ 2133 h 1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79" h="19134">
                  <a:moveTo>
                    <a:pt x="15566" y="2133"/>
                  </a:moveTo>
                  <a:cubicBezTo>
                    <a:pt x="11460" y="-1195"/>
                    <a:pt x="5442" y="-558"/>
                    <a:pt x="2126" y="3549"/>
                  </a:cubicBezTo>
                  <a:cubicBezTo>
                    <a:pt x="-1195" y="7656"/>
                    <a:pt x="-554" y="13674"/>
                    <a:pt x="3549" y="17002"/>
                  </a:cubicBezTo>
                  <a:cubicBezTo>
                    <a:pt x="7651" y="20330"/>
                    <a:pt x="13662" y="19692"/>
                    <a:pt x="16982" y="15586"/>
                  </a:cubicBezTo>
                  <a:cubicBezTo>
                    <a:pt x="20118" y="11444"/>
                    <a:pt x="19499" y="5531"/>
                    <a:pt x="15566" y="213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3" name="Freihandform 380">
              <a:extLst>
                <a:ext uri="{FF2B5EF4-FFF2-40B4-BE49-F238E27FC236}">
                  <a16:creationId xmlns:a16="http://schemas.microsoft.com/office/drawing/2014/main" id="{8E274F6B-71FF-4957-8410-DA3E129AC975}"/>
                </a:ext>
              </a:extLst>
            </p:cNvPr>
            <p:cNvSpPr/>
            <p:nvPr/>
          </p:nvSpPr>
          <p:spPr>
            <a:xfrm>
              <a:off x="-492120" y="2886265"/>
              <a:ext cx="68388" cy="68190"/>
            </a:xfrm>
            <a:custGeom>
              <a:avLst/>
              <a:gdLst>
                <a:gd name="connsiteX0" fmla="*/ 55632 w 68388"/>
                <a:gd name="connsiteY0" fmla="*/ 7477 h 68190"/>
                <a:gd name="connsiteX1" fmla="*/ 7492 w 68388"/>
                <a:gd name="connsiteY1" fmla="*/ 12433 h 68190"/>
                <a:gd name="connsiteX2" fmla="*/ 12928 w 68388"/>
                <a:gd name="connsiteY2" fmla="*/ 60687 h 68190"/>
                <a:gd name="connsiteX3" fmla="*/ 60588 w 68388"/>
                <a:gd name="connsiteY3" fmla="*/ 55978 h 68190"/>
                <a:gd name="connsiteX4" fmla="*/ 55841 w 68388"/>
                <a:gd name="connsiteY4" fmla="*/ 7653 h 68190"/>
                <a:gd name="connsiteX5" fmla="*/ 55632 w 68388"/>
                <a:gd name="connsiteY5" fmla="*/ 7477 h 68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388" h="68190">
                  <a:moveTo>
                    <a:pt x="55632" y="7477"/>
                  </a:moveTo>
                  <a:cubicBezTo>
                    <a:pt x="40893" y="-4171"/>
                    <a:pt x="19544" y="-1976"/>
                    <a:pt x="7492" y="12433"/>
                  </a:cubicBezTo>
                  <a:cubicBezTo>
                    <a:pt x="-4331" y="27266"/>
                    <a:pt x="-1896" y="48862"/>
                    <a:pt x="12928" y="60687"/>
                  </a:cubicBezTo>
                  <a:cubicBezTo>
                    <a:pt x="27470" y="72298"/>
                    <a:pt x="48599" y="70210"/>
                    <a:pt x="60588" y="55978"/>
                  </a:cubicBezTo>
                  <a:cubicBezTo>
                    <a:pt x="72623" y="41321"/>
                    <a:pt x="70495" y="19690"/>
                    <a:pt x="55841" y="7653"/>
                  </a:cubicBezTo>
                  <a:cubicBezTo>
                    <a:pt x="55770" y="7583"/>
                    <a:pt x="55703" y="7547"/>
                    <a:pt x="55632" y="7477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4" name="Freihandform 381">
              <a:extLst>
                <a:ext uri="{FF2B5EF4-FFF2-40B4-BE49-F238E27FC236}">
                  <a16:creationId xmlns:a16="http://schemas.microsoft.com/office/drawing/2014/main" id="{41A0C81D-0B81-4E31-BCD3-C02BEAD0DA94}"/>
                </a:ext>
              </a:extLst>
            </p:cNvPr>
            <p:cNvSpPr/>
            <p:nvPr/>
          </p:nvSpPr>
          <p:spPr>
            <a:xfrm>
              <a:off x="-41827" y="3970524"/>
              <a:ext cx="68672" cy="68693"/>
            </a:xfrm>
            <a:custGeom>
              <a:avLst/>
              <a:gdLst>
                <a:gd name="connsiteX0" fmla="*/ 56302 w 68672"/>
                <a:gd name="connsiteY0" fmla="*/ 7954 h 68693"/>
                <a:gd name="connsiteX1" fmla="*/ 7945 w 68672"/>
                <a:gd name="connsiteY1" fmla="*/ 12380 h 68693"/>
                <a:gd name="connsiteX2" fmla="*/ 12370 w 68672"/>
                <a:gd name="connsiteY2" fmla="*/ 60739 h 68693"/>
                <a:gd name="connsiteX3" fmla="*/ 60727 w 68672"/>
                <a:gd name="connsiteY3" fmla="*/ 56314 h 68693"/>
                <a:gd name="connsiteX4" fmla="*/ 60904 w 68672"/>
                <a:gd name="connsiteY4" fmla="*/ 56102 h 68693"/>
                <a:gd name="connsiteX5" fmla="*/ 56302 w 68672"/>
                <a:gd name="connsiteY5" fmla="*/ 7954 h 68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672" h="68693">
                  <a:moveTo>
                    <a:pt x="56302" y="7954"/>
                  </a:moveTo>
                  <a:cubicBezTo>
                    <a:pt x="41729" y="-4189"/>
                    <a:pt x="20076" y="-2206"/>
                    <a:pt x="7945" y="12380"/>
                  </a:cubicBezTo>
                  <a:cubicBezTo>
                    <a:pt x="-4185" y="26966"/>
                    <a:pt x="-2203" y="48597"/>
                    <a:pt x="12370" y="60739"/>
                  </a:cubicBezTo>
                  <a:cubicBezTo>
                    <a:pt x="26943" y="72883"/>
                    <a:pt x="48596" y="70900"/>
                    <a:pt x="60727" y="56314"/>
                  </a:cubicBezTo>
                  <a:cubicBezTo>
                    <a:pt x="60787" y="56243"/>
                    <a:pt x="60843" y="56173"/>
                    <a:pt x="60904" y="56102"/>
                  </a:cubicBezTo>
                  <a:cubicBezTo>
                    <a:pt x="72846" y="41516"/>
                    <a:pt x="70794" y="20026"/>
                    <a:pt x="56302" y="795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5" name="Freihandform 382">
              <a:extLst>
                <a:ext uri="{FF2B5EF4-FFF2-40B4-BE49-F238E27FC236}">
                  <a16:creationId xmlns:a16="http://schemas.microsoft.com/office/drawing/2014/main" id="{EC5193F9-7829-4BF3-830F-DE72D6348418}"/>
                </a:ext>
              </a:extLst>
            </p:cNvPr>
            <p:cNvSpPr/>
            <p:nvPr/>
          </p:nvSpPr>
          <p:spPr>
            <a:xfrm>
              <a:off x="215042" y="2520536"/>
              <a:ext cx="54141" cy="54189"/>
            </a:xfrm>
            <a:custGeom>
              <a:avLst/>
              <a:gdLst>
                <a:gd name="connsiteX0" fmla="*/ 44382 w 54141"/>
                <a:gd name="connsiteY0" fmla="*/ 6081 h 54189"/>
                <a:gd name="connsiteX1" fmla="*/ 6153 w 54141"/>
                <a:gd name="connsiteY1" fmla="*/ 9976 h 54189"/>
                <a:gd name="connsiteX2" fmla="*/ 9869 w 54141"/>
                <a:gd name="connsiteY2" fmla="*/ 48034 h 54189"/>
                <a:gd name="connsiteX3" fmla="*/ 47922 w 54141"/>
                <a:gd name="connsiteY3" fmla="*/ 44316 h 54189"/>
                <a:gd name="connsiteX4" fmla="*/ 44382 w 54141"/>
                <a:gd name="connsiteY4" fmla="*/ 6081 h 54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141" h="54189">
                  <a:moveTo>
                    <a:pt x="44382" y="6081"/>
                  </a:moveTo>
                  <a:cubicBezTo>
                    <a:pt x="32736" y="-3371"/>
                    <a:pt x="15657" y="-1601"/>
                    <a:pt x="6153" y="9976"/>
                  </a:cubicBezTo>
                  <a:cubicBezTo>
                    <a:pt x="-3330" y="21517"/>
                    <a:pt x="-1667" y="38545"/>
                    <a:pt x="9869" y="48034"/>
                  </a:cubicBezTo>
                  <a:cubicBezTo>
                    <a:pt x="21402" y="57521"/>
                    <a:pt x="38439" y="55857"/>
                    <a:pt x="47922" y="44316"/>
                  </a:cubicBezTo>
                  <a:cubicBezTo>
                    <a:pt x="57440" y="32775"/>
                    <a:pt x="55858" y="15676"/>
                    <a:pt x="44382" y="608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56" name="Freihandform 383">
              <a:extLst>
                <a:ext uri="{FF2B5EF4-FFF2-40B4-BE49-F238E27FC236}">
                  <a16:creationId xmlns:a16="http://schemas.microsoft.com/office/drawing/2014/main" id="{ADD183C4-7252-4C86-BD18-5A20327E2C1E}"/>
                </a:ext>
              </a:extLst>
            </p:cNvPr>
            <p:cNvSpPr/>
            <p:nvPr/>
          </p:nvSpPr>
          <p:spPr>
            <a:xfrm>
              <a:off x="-327501" y="3858119"/>
              <a:ext cx="79857" cy="80001"/>
            </a:xfrm>
            <a:custGeom>
              <a:avLst/>
              <a:gdLst>
                <a:gd name="connsiteX0" fmla="*/ 65522 w 79857"/>
                <a:gd name="connsiteY0" fmla="*/ 9195 h 80001"/>
                <a:gd name="connsiteX1" fmla="*/ 9201 w 79857"/>
                <a:gd name="connsiteY1" fmla="*/ 14470 h 80001"/>
                <a:gd name="connsiteX2" fmla="*/ 14478 w 79857"/>
                <a:gd name="connsiteY2" fmla="*/ 70795 h 80001"/>
                <a:gd name="connsiteX3" fmla="*/ 70799 w 79857"/>
                <a:gd name="connsiteY3" fmla="*/ 65520 h 80001"/>
                <a:gd name="connsiteX4" fmla="*/ 70831 w 79857"/>
                <a:gd name="connsiteY4" fmla="*/ 65485 h 80001"/>
                <a:gd name="connsiteX5" fmla="*/ 65522 w 79857"/>
                <a:gd name="connsiteY5" fmla="*/ 9195 h 80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857" h="80001">
                  <a:moveTo>
                    <a:pt x="65522" y="9195"/>
                  </a:moveTo>
                  <a:cubicBezTo>
                    <a:pt x="48513" y="-4895"/>
                    <a:pt x="23296" y="-2524"/>
                    <a:pt x="9201" y="14470"/>
                  </a:cubicBezTo>
                  <a:cubicBezTo>
                    <a:pt x="-4895" y="31498"/>
                    <a:pt x="-2530" y="56705"/>
                    <a:pt x="14478" y="70795"/>
                  </a:cubicBezTo>
                  <a:cubicBezTo>
                    <a:pt x="31487" y="84886"/>
                    <a:pt x="56704" y="82549"/>
                    <a:pt x="70799" y="65520"/>
                  </a:cubicBezTo>
                  <a:cubicBezTo>
                    <a:pt x="70810" y="65520"/>
                    <a:pt x="70821" y="65485"/>
                    <a:pt x="70831" y="65485"/>
                  </a:cubicBezTo>
                  <a:cubicBezTo>
                    <a:pt x="84693" y="48421"/>
                    <a:pt x="82332" y="23391"/>
                    <a:pt x="65522" y="9195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67" name="Freihandform 384">
              <a:extLst>
                <a:ext uri="{FF2B5EF4-FFF2-40B4-BE49-F238E27FC236}">
                  <a16:creationId xmlns:a16="http://schemas.microsoft.com/office/drawing/2014/main" id="{0188BEA1-B9AF-44A8-AF2C-2CC3C695E237}"/>
                </a:ext>
              </a:extLst>
            </p:cNvPr>
            <p:cNvSpPr/>
            <p:nvPr/>
          </p:nvSpPr>
          <p:spPr>
            <a:xfrm>
              <a:off x="1050442" y="4049344"/>
              <a:ext cx="80228" cy="80239"/>
            </a:xfrm>
            <a:custGeom>
              <a:avLst/>
              <a:gdLst>
                <a:gd name="connsiteX0" fmla="*/ 65600 w 80228"/>
                <a:gd name="connsiteY0" fmla="*/ 9143 h 80239"/>
                <a:gd name="connsiteX1" fmla="*/ 9141 w 80228"/>
                <a:gd name="connsiteY1" fmla="*/ 14630 h 80239"/>
                <a:gd name="connsiteX2" fmla="*/ 14628 w 80228"/>
                <a:gd name="connsiteY2" fmla="*/ 71097 h 80239"/>
                <a:gd name="connsiteX3" fmla="*/ 71087 w 80228"/>
                <a:gd name="connsiteY3" fmla="*/ 65610 h 80239"/>
                <a:gd name="connsiteX4" fmla="*/ 65600 w 80228"/>
                <a:gd name="connsiteY4" fmla="*/ 9143 h 80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228" h="80239">
                  <a:moveTo>
                    <a:pt x="65600" y="9143"/>
                  </a:moveTo>
                  <a:cubicBezTo>
                    <a:pt x="48503" y="-4947"/>
                    <a:pt x="23230" y="-2469"/>
                    <a:pt x="9141" y="14630"/>
                  </a:cubicBezTo>
                  <a:cubicBezTo>
                    <a:pt x="-4947" y="31730"/>
                    <a:pt x="-2469" y="57007"/>
                    <a:pt x="14628" y="71097"/>
                  </a:cubicBezTo>
                  <a:cubicBezTo>
                    <a:pt x="31725" y="85187"/>
                    <a:pt x="56999" y="82709"/>
                    <a:pt x="71087" y="65610"/>
                  </a:cubicBezTo>
                  <a:cubicBezTo>
                    <a:pt x="85175" y="48510"/>
                    <a:pt x="82697" y="23233"/>
                    <a:pt x="65600" y="914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68" name="Freihandform 385">
              <a:extLst>
                <a:ext uri="{FF2B5EF4-FFF2-40B4-BE49-F238E27FC236}">
                  <a16:creationId xmlns:a16="http://schemas.microsoft.com/office/drawing/2014/main" id="{02960787-BAC8-41B7-89BD-4768F736069C}"/>
                </a:ext>
              </a:extLst>
            </p:cNvPr>
            <p:cNvSpPr/>
            <p:nvPr/>
          </p:nvSpPr>
          <p:spPr>
            <a:xfrm>
              <a:off x="-905103" y="417735"/>
              <a:ext cx="49813" cy="49821"/>
            </a:xfrm>
            <a:custGeom>
              <a:avLst/>
              <a:gdLst>
                <a:gd name="connsiteX0" fmla="*/ 40659 w 49813"/>
                <a:gd name="connsiteY0" fmla="*/ 5616 h 49821"/>
                <a:gd name="connsiteX1" fmla="*/ 5615 w 49813"/>
                <a:gd name="connsiteY1" fmla="*/ 9156 h 49821"/>
                <a:gd name="connsiteX2" fmla="*/ 9155 w 49813"/>
                <a:gd name="connsiteY2" fmla="*/ 44205 h 49821"/>
                <a:gd name="connsiteX3" fmla="*/ 44198 w 49813"/>
                <a:gd name="connsiteY3" fmla="*/ 40665 h 49821"/>
                <a:gd name="connsiteX4" fmla="*/ 40659 w 49813"/>
                <a:gd name="connsiteY4" fmla="*/ 5616 h 4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13" h="49821">
                  <a:moveTo>
                    <a:pt x="40659" y="5616"/>
                  </a:moveTo>
                  <a:cubicBezTo>
                    <a:pt x="30004" y="-3086"/>
                    <a:pt x="14316" y="-1500"/>
                    <a:pt x="5615" y="9156"/>
                  </a:cubicBezTo>
                  <a:cubicBezTo>
                    <a:pt x="-3085" y="19812"/>
                    <a:pt x="-1500" y="35503"/>
                    <a:pt x="9155" y="44205"/>
                  </a:cubicBezTo>
                  <a:cubicBezTo>
                    <a:pt x="19810" y="52907"/>
                    <a:pt x="35498" y="51321"/>
                    <a:pt x="44198" y="40665"/>
                  </a:cubicBezTo>
                  <a:cubicBezTo>
                    <a:pt x="52899" y="30008"/>
                    <a:pt x="51313" y="14318"/>
                    <a:pt x="40659" y="561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69" name="Freihandform 386">
              <a:extLst>
                <a:ext uri="{FF2B5EF4-FFF2-40B4-BE49-F238E27FC236}">
                  <a16:creationId xmlns:a16="http://schemas.microsoft.com/office/drawing/2014/main" id="{ACD6145F-D5DC-431E-836D-A23535246CB9}"/>
                </a:ext>
              </a:extLst>
            </p:cNvPr>
            <p:cNvSpPr/>
            <p:nvPr/>
          </p:nvSpPr>
          <p:spPr>
            <a:xfrm>
              <a:off x="-900548" y="1136515"/>
              <a:ext cx="49558" cy="49566"/>
            </a:xfrm>
            <a:custGeom>
              <a:avLst/>
              <a:gdLst>
                <a:gd name="connsiteX0" fmla="*/ 40352 w 49558"/>
                <a:gd name="connsiteY0" fmla="*/ 5507 h 49566"/>
                <a:gd name="connsiteX1" fmla="*/ 5507 w 49558"/>
                <a:gd name="connsiteY1" fmla="*/ 9211 h 49566"/>
                <a:gd name="connsiteX2" fmla="*/ 9206 w 49558"/>
                <a:gd name="connsiteY2" fmla="*/ 44061 h 49566"/>
                <a:gd name="connsiteX3" fmla="*/ 43892 w 49558"/>
                <a:gd name="connsiteY3" fmla="*/ 40556 h 49566"/>
                <a:gd name="connsiteX4" fmla="*/ 40550 w 49558"/>
                <a:gd name="connsiteY4" fmla="*/ 5670 h 49566"/>
                <a:gd name="connsiteX5" fmla="*/ 40352 w 49558"/>
                <a:gd name="connsiteY5" fmla="*/ 5507 h 49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58" h="49566">
                  <a:moveTo>
                    <a:pt x="40352" y="5507"/>
                  </a:moveTo>
                  <a:cubicBezTo>
                    <a:pt x="29708" y="-3095"/>
                    <a:pt x="14105" y="-1439"/>
                    <a:pt x="5507" y="9211"/>
                  </a:cubicBezTo>
                  <a:cubicBezTo>
                    <a:pt x="-3095" y="19856"/>
                    <a:pt x="-1438" y="35458"/>
                    <a:pt x="9206" y="44061"/>
                  </a:cubicBezTo>
                  <a:cubicBezTo>
                    <a:pt x="19776" y="52600"/>
                    <a:pt x="35244" y="51035"/>
                    <a:pt x="43892" y="40556"/>
                  </a:cubicBezTo>
                  <a:cubicBezTo>
                    <a:pt x="52600" y="29999"/>
                    <a:pt x="51106" y="14379"/>
                    <a:pt x="40550" y="5670"/>
                  </a:cubicBezTo>
                  <a:cubicBezTo>
                    <a:pt x="40483" y="5614"/>
                    <a:pt x="40419" y="5561"/>
                    <a:pt x="40352" y="5507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0" name="Freihandform 387">
              <a:extLst>
                <a:ext uri="{FF2B5EF4-FFF2-40B4-BE49-F238E27FC236}">
                  <a16:creationId xmlns:a16="http://schemas.microsoft.com/office/drawing/2014/main" id="{87890284-55D0-4D5F-A6CF-FC5C1A2B0328}"/>
                </a:ext>
              </a:extLst>
            </p:cNvPr>
            <p:cNvSpPr/>
            <p:nvPr/>
          </p:nvSpPr>
          <p:spPr>
            <a:xfrm>
              <a:off x="3280242" y="5667535"/>
              <a:ext cx="641755" cy="105145"/>
            </a:xfrm>
            <a:custGeom>
              <a:avLst/>
              <a:gdLst>
                <a:gd name="connsiteX0" fmla="*/ 66193 w 641755"/>
                <a:gd name="connsiteY0" fmla="*/ 105145 h 105145"/>
                <a:gd name="connsiteX1" fmla="*/ 14867 w 641755"/>
                <a:gd name="connsiteY1" fmla="*/ 10267 h 105145"/>
                <a:gd name="connsiteX2" fmla="*/ 592907 w 641755"/>
                <a:gd name="connsiteY2" fmla="*/ 105145 h 105145"/>
                <a:gd name="connsiteX3" fmla="*/ 641756 w 641755"/>
                <a:gd name="connsiteY3" fmla="*/ 105145 h 105145"/>
                <a:gd name="connsiteX4" fmla="*/ 0 w 641755"/>
                <a:gd name="connsiteY4" fmla="*/ 0 h 105145"/>
                <a:gd name="connsiteX5" fmla="*/ 57344 w 641755"/>
                <a:gd name="connsiteY5" fmla="*/ 105145 h 105145"/>
                <a:gd name="connsiteX6" fmla="*/ 66193 w 641755"/>
                <a:gd name="connsiteY6" fmla="*/ 105145 h 105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1755" h="105145">
                  <a:moveTo>
                    <a:pt x="66193" y="105145"/>
                  </a:moveTo>
                  <a:lnTo>
                    <a:pt x="14867" y="10267"/>
                  </a:lnTo>
                  <a:lnTo>
                    <a:pt x="592907" y="105145"/>
                  </a:lnTo>
                  <a:lnTo>
                    <a:pt x="641756" y="105145"/>
                  </a:lnTo>
                  <a:lnTo>
                    <a:pt x="0" y="0"/>
                  </a:lnTo>
                  <a:lnTo>
                    <a:pt x="57344" y="105145"/>
                  </a:lnTo>
                  <a:lnTo>
                    <a:pt x="66193" y="105145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1" name="Freihandform 388">
              <a:extLst>
                <a:ext uri="{FF2B5EF4-FFF2-40B4-BE49-F238E27FC236}">
                  <a16:creationId xmlns:a16="http://schemas.microsoft.com/office/drawing/2014/main" id="{34E9FDD2-77F8-497C-AC4F-DA1DB0DE48B6}"/>
                </a:ext>
              </a:extLst>
            </p:cNvPr>
            <p:cNvSpPr/>
            <p:nvPr/>
          </p:nvSpPr>
          <p:spPr>
            <a:xfrm>
              <a:off x="3284135" y="5672490"/>
              <a:ext cx="4601" cy="4956"/>
            </a:xfrm>
            <a:custGeom>
              <a:avLst/>
              <a:gdLst>
                <a:gd name="connsiteX0" fmla="*/ 4602 w 4601"/>
                <a:gd name="connsiteY0" fmla="*/ 3894 h 4956"/>
                <a:gd name="connsiteX1" fmla="*/ 3540 w 4601"/>
                <a:gd name="connsiteY1" fmla="*/ 0 h 4956"/>
                <a:gd name="connsiteX2" fmla="*/ 0 w 4601"/>
                <a:gd name="connsiteY2" fmla="*/ 2124 h 4956"/>
                <a:gd name="connsiteX3" fmla="*/ 1416 w 4601"/>
                <a:gd name="connsiteY3" fmla="*/ 4956 h 4956"/>
                <a:gd name="connsiteX4" fmla="*/ 4602 w 4601"/>
                <a:gd name="connsiteY4" fmla="*/ 3894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956">
                  <a:moveTo>
                    <a:pt x="4602" y="3894"/>
                  </a:moveTo>
                  <a:lnTo>
                    <a:pt x="3540" y="0"/>
                  </a:lnTo>
                  <a:lnTo>
                    <a:pt x="0" y="2124"/>
                  </a:lnTo>
                  <a:lnTo>
                    <a:pt x="1416" y="4956"/>
                  </a:lnTo>
                  <a:lnTo>
                    <a:pt x="4602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2" name="Freihandform 389">
              <a:extLst>
                <a:ext uri="{FF2B5EF4-FFF2-40B4-BE49-F238E27FC236}">
                  <a16:creationId xmlns:a16="http://schemas.microsoft.com/office/drawing/2014/main" id="{5A8B0F45-F895-4E2F-94E2-7FD44404E545}"/>
                </a:ext>
              </a:extLst>
            </p:cNvPr>
            <p:cNvSpPr/>
            <p:nvPr/>
          </p:nvSpPr>
          <p:spPr>
            <a:xfrm>
              <a:off x="2984319" y="5667888"/>
              <a:ext cx="362469" cy="104791"/>
            </a:xfrm>
            <a:custGeom>
              <a:avLst/>
              <a:gdLst>
                <a:gd name="connsiteX0" fmla="*/ 24424 w 362469"/>
                <a:gd name="connsiteY0" fmla="*/ 104792 h 104791"/>
                <a:gd name="connsiteX1" fmla="*/ 301232 w 362469"/>
                <a:gd name="connsiteY1" fmla="*/ 9559 h 104791"/>
                <a:gd name="connsiteX2" fmla="*/ 299816 w 362469"/>
                <a:gd name="connsiteY2" fmla="*/ 6727 h 104791"/>
                <a:gd name="connsiteX3" fmla="*/ 303356 w 362469"/>
                <a:gd name="connsiteY3" fmla="*/ 4603 h 104791"/>
                <a:gd name="connsiteX4" fmla="*/ 304418 w 362469"/>
                <a:gd name="connsiteY4" fmla="*/ 8497 h 104791"/>
                <a:gd name="connsiteX5" fmla="*/ 301232 w 362469"/>
                <a:gd name="connsiteY5" fmla="*/ 9559 h 104791"/>
                <a:gd name="connsiteX6" fmla="*/ 353266 w 362469"/>
                <a:gd name="connsiteY6" fmla="*/ 104792 h 104791"/>
                <a:gd name="connsiteX7" fmla="*/ 362470 w 362469"/>
                <a:gd name="connsiteY7" fmla="*/ 104792 h 104791"/>
                <a:gd name="connsiteX8" fmla="*/ 305126 w 362469"/>
                <a:gd name="connsiteY8" fmla="*/ 0 h 104791"/>
                <a:gd name="connsiteX9" fmla="*/ 301940 w 362469"/>
                <a:gd name="connsiteY9" fmla="*/ 1062 h 104791"/>
                <a:gd name="connsiteX10" fmla="*/ 0 w 362469"/>
                <a:gd name="connsiteY10" fmla="*/ 104792 h 104791"/>
                <a:gd name="connsiteX11" fmla="*/ 24424 w 362469"/>
                <a:gd name="connsiteY11" fmla="*/ 104792 h 104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469" h="104791">
                  <a:moveTo>
                    <a:pt x="24424" y="104792"/>
                  </a:moveTo>
                  <a:lnTo>
                    <a:pt x="301232" y="9559"/>
                  </a:lnTo>
                  <a:lnTo>
                    <a:pt x="299816" y="6727"/>
                  </a:lnTo>
                  <a:lnTo>
                    <a:pt x="303356" y="4603"/>
                  </a:lnTo>
                  <a:lnTo>
                    <a:pt x="304418" y="8497"/>
                  </a:lnTo>
                  <a:lnTo>
                    <a:pt x="301232" y="9559"/>
                  </a:lnTo>
                  <a:lnTo>
                    <a:pt x="353266" y="104792"/>
                  </a:lnTo>
                  <a:lnTo>
                    <a:pt x="362470" y="104792"/>
                  </a:lnTo>
                  <a:lnTo>
                    <a:pt x="305126" y="0"/>
                  </a:lnTo>
                  <a:lnTo>
                    <a:pt x="301940" y="1062"/>
                  </a:lnTo>
                  <a:lnTo>
                    <a:pt x="0" y="104792"/>
                  </a:lnTo>
                  <a:lnTo>
                    <a:pt x="24424" y="10479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3" name="Freihandform 390">
              <a:extLst>
                <a:ext uri="{FF2B5EF4-FFF2-40B4-BE49-F238E27FC236}">
                  <a16:creationId xmlns:a16="http://schemas.microsoft.com/office/drawing/2014/main" id="{1812F9E5-5119-4CDF-9BDC-91C0FB74B771}"/>
                </a:ext>
              </a:extLst>
            </p:cNvPr>
            <p:cNvSpPr/>
            <p:nvPr/>
          </p:nvSpPr>
          <p:spPr>
            <a:xfrm>
              <a:off x="3265376" y="5668950"/>
              <a:ext cx="22300" cy="7788"/>
            </a:xfrm>
            <a:custGeom>
              <a:avLst/>
              <a:gdLst>
                <a:gd name="connsiteX0" fmla="*/ 22300 w 22300"/>
                <a:gd name="connsiteY0" fmla="*/ 3540 h 7788"/>
                <a:gd name="connsiteX1" fmla="*/ 20884 w 22300"/>
                <a:gd name="connsiteY1" fmla="*/ 0 h 7788"/>
                <a:gd name="connsiteX2" fmla="*/ 0 w 22300"/>
                <a:gd name="connsiteY2" fmla="*/ 7081 h 7788"/>
                <a:gd name="connsiteX3" fmla="*/ 21946 w 22300"/>
                <a:gd name="connsiteY3" fmla="*/ 7788 h 7788"/>
                <a:gd name="connsiteX4" fmla="*/ 22300 w 22300"/>
                <a:gd name="connsiteY4" fmla="*/ 3540 h 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00" h="7788">
                  <a:moveTo>
                    <a:pt x="22300" y="3540"/>
                  </a:moveTo>
                  <a:lnTo>
                    <a:pt x="20884" y="0"/>
                  </a:lnTo>
                  <a:lnTo>
                    <a:pt x="0" y="7081"/>
                  </a:lnTo>
                  <a:lnTo>
                    <a:pt x="21946" y="7788"/>
                  </a:lnTo>
                  <a:lnTo>
                    <a:pt x="22300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6" name="Freihandform 391">
              <a:extLst>
                <a:ext uri="{FF2B5EF4-FFF2-40B4-BE49-F238E27FC236}">
                  <a16:creationId xmlns:a16="http://schemas.microsoft.com/office/drawing/2014/main" id="{84EB6A9D-9621-4203-8657-4D21003C778C}"/>
                </a:ext>
              </a:extLst>
            </p:cNvPr>
            <p:cNvSpPr/>
            <p:nvPr/>
          </p:nvSpPr>
          <p:spPr>
            <a:xfrm>
              <a:off x="1327365" y="5613722"/>
              <a:ext cx="1961372" cy="158957"/>
            </a:xfrm>
            <a:custGeom>
              <a:avLst/>
              <a:gdLst>
                <a:gd name="connsiteX0" fmla="*/ 90617 w 1961372"/>
                <a:gd name="connsiteY0" fmla="*/ 158958 h 158957"/>
                <a:gd name="connsiteX1" fmla="*/ 13097 w 1961372"/>
                <a:gd name="connsiteY1" fmla="*/ 8143 h 158957"/>
                <a:gd name="connsiteX2" fmla="*/ 1938010 w 1961372"/>
                <a:gd name="connsiteY2" fmla="*/ 62309 h 158957"/>
                <a:gd name="connsiteX3" fmla="*/ 1958894 w 1961372"/>
                <a:gd name="connsiteY3" fmla="*/ 55228 h 158957"/>
                <a:gd name="connsiteX4" fmla="*/ 1960310 w 1961372"/>
                <a:gd name="connsiteY4" fmla="*/ 58769 h 158957"/>
                <a:gd name="connsiteX5" fmla="*/ 1959957 w 1961372"/>
                <a:gd name="connsiteY5" fmla="*/ 63017 h 158957"/>
                <a:gd name="connsiteX6" fmla="*/ 1938010 w 1961372"/>
                <a:gd name="connsiteY6" fmla="*/ 62309 h 158957"/>
                <a:gd name="connsiteX7" fmla="*/ 1656954 w 1961372"/>
                <a:gd name="connsiteY7" fmla="*/ 158958 h 158957"/>
                <a:gd name="connsiteX8" fmla="*/ 1681024 w 1961372"/>
                <a:gd name="connsiteY8" fmla="*/ 158958 h 158957"/>
                <a:gd name="connsiteX9" fmla="*/ 1961372 w 1961372"/>
                <a:gd name="connsiteY9" fmla="*/ 62663 h 158957"/>
                <a:gd name="connsiteX10" fmla="*/ 1960310 w 1961372"/>
                <a:gd name="connsiteY10" fmla="*/ 54874 h 158957"/>
                <a:gd name="connsiteX11" fmla="*/ 0 w 1961372"/>
                <a:gd name="connsiteY11" fmla="*/ 0 h 158957"/>
                <a:gd name="connsiteX12" fmla="*/ 81768 w 1961372"/>
                <a:gd name="connsiteY12" fmla="*/ 158958 h 158957"/>
                <a:gd name="connsiteX13" fmla="*/ 90617 w 1961372"/>
                <a:gd name="connsiteY13" fmla="*/ 158958 h 158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61372" h="158957">
                  <a:moveTo>
                    <a:pt x="90617" y="158958"/>
                  </a:moveTo>
                  <a:lnTo>
                    <a:pt x="13097" y="8143"/>
                  </a:lnTo>
                  <a:lnTo>
                    <a:pt x="1938010" y="62309"/>
                  </a:lnTo>
                  <a:lnTo>
                    <a:pt x="1958894" y="55228"/>
                  </a:lnTo>
                  <a:lnTo>
                    <a:pt x="1960310" y="58769"/>
                  </a:lnTo>
                  <a:lnTo>
                    <a:pt x="1959957" y="63017"/>
                  </a:lnTo>
                  <a:lnTo>
                    <a:pt x="1938010" y="62309"/>
                  </a:lnTo>
                  <a:lnTo>
                    <a:pt x="1656954" y="158958"/>
                  </a:lnTo>
                  <a:lnTo>
                    <a:pt x="1681024" y="158958"/>
                  </a:lnTo>
                  <a:lnTo>
                    <a:pt x="1961372" y="62663"/>
                  </a:lnTo>
                  <a:lnTo>
                    <a:pt x="1960310" y="54874"/>
                  </a:lnTo>
                  <a:lnTo>
                    <a:pt x="0" y="0"/>
                  </a:lnTo>
                  <a:lnTo>
                    <a:pt x="81768" y="158958"/>
                  </a:lnTo>
                  <a:lnTo>
                    <a:pt x="90617" y="15895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79" name="Freihandform 392">
              <a:extLst>
                <a:ext uri="{FF2B5EF4-FFF2-40B4-BE49-F238E27FC236}">
                  <a16:creationId xmlns:a16="http://schemas.microsoft.com/office/drawing/2014/main" id="{8C4B611D-49B3-4470-96F9-0CC2A877F9EC}"/>
                </a:ext>
              </a:extLst>
            </p:cNvPr>
            <p:cNvSpPr/>
            <p:nvPr/>
          </p:nvSpPr>
          <p:spPr>
            <a:xfrm>
              <a:off x="1394266" y="2094706"/>
              <a:ext cx="6017" cy="6018"/>
            </a:xfrm>
            <a:custGeom>
              <a:avLst/>
              <a:gdLst>
                <a:gd name="connsiteX0" fmla="*/ 6018 w 6017"/>
                <a:gd name="connsiteY0" fmla="*/ 3894 h 6018"/>
                <a:gd name="connsiteX1" fmla="*/ 4956 w 6017"/>
                <a:gd name="connsiteY1" fmla="*/ 0 h 6018"/>
                <a:gd name="connsiteX2" fmla="*/ 0 w 6017"/>
                <a:gd name="connsiteY2" fmla="*/ 1770 h 6018"/>
                <a:gd name="connsiteX3" fmla="*/ 2832 w 6017"/>
                <a:gd name="connsiteY3" fmla="*/ 6018 h 6018"/>
                <a:gd name="connsiteX4" fmla="*/ 6018 w 6017"/>
                <a:gd name="connsiteY4" fmla="*/ 3894 h 6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6018">
                  <a:moveTo>
                    <a:pt x="6018" y="3894"/>
                  </a:moveTo>
                  <a:lnTo>
                    <a:pt x="4956" y="0"/>
                  </a:lnTo>
                  <a:lnTo>
                    <a:pt x="0" y="1770"/>
                  </a:lnTo>
                  <a:lnTo>
                    <a:pt x="2832" y="6018"/>
                  </a:lnTo>
                  <a:lnTo>
                    <a:pt x="6018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0" name="Freihandform 393">
              <a:extLst>
                <a:ext uri="{FF2B5EF4-FFF2-40B4-BE49-F238E27FC236}">
                  <a16:creationId xmlns:a16="http://schemas.microsoft.com/office/drawing/2014/main" id="{C540F5F7-63AF-44A3-804D-2871F2291DC4}"/>
                </a:ext>
              </a:extLst>
            </p:cNvPr>
            <p:cNvSpPr/>
            <p:nvPr/>
          </p:nvSpPr>
          <p:spPr>
            <a:xfrm>
              <a:off x="4308183" y="4847964"/>
              <a:ext cx="10265" cy="12744"/>
            </a:xfrm>
            <a:custGeom>
              <a:avLst/>
              <a:gdLst>
                <a:gd name="connsiteX0" fmla="*/ 10265 w 10265"/>
                <a:gd name="connsiteY0" fmla="*/ 4602 h 12744"/>
                <a:gd name="connsiteX1" fmla="*/ 7787 w 10265"/>
                <a:gd name="connsiteY1" fmla="*/ 1416 h 12744"/>
                <a:gd name="connsiteX2" fmla="*/ 4248 w 10265"/>
                <a:gd name="connsiteY2" fmla="*/ 0 h 12744"/>
                <a:gd name="connsiteX3" fmla="*/ 0 w 10265"/>
                <a:gd name="connsiteY3" fmla="*/ 12745 h 12744"/>
                <a:gd name="connsiteX4" fmla="*/ 10265 w 10265"/>
                <a:gd name="connsiteY4" fmla="*/ 4602 h 1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65" h="12744">
                  <a:moveTo>
                    <a:pt x="10265" y="4602"/>
                  </a:moveTo>
                  <a:lnTo>
                    <a:pt x="7787" y="1416"/>
                  </a:lnTo>
                  <a:lnTo>
                    <a:pt x="4248" y="0"/>
                  </a:lnTo>
                  <a:lnTo>
                    <a:pt x="0" y="12745"/>
                  </a:lnTo>
                  <a:lnTo>
                    <a:pt x="10265" y="460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1" name="Freihandform 394">
              <a:extLst>
                <a:ext uri="{FF2B5EF4-FFF2-40B4-BE49-F238E27FC236}">
                  <a16:creationId xmlns:a16="http://schemas.microsoft.com/office/drawing/2014/main" id="{DDF7E846-8971-4DCA-B325-391314337108}"/>
                </a:ext>
              </a:extLst>
            </p:cNvPr>
            <p:cNvSpPr/>
            <p:nvPr/>
          </p:nvSpPr>
          <p:spPr>
            <a:xfrm>
              <a:off x="3278119" y="4838051"/>
              <a:ext cx="1045640" cy="934628"/>
            </a:xfrm>
            <a:custGeom>
              <a:avLst/>
              <a:gdLst>
                <a:gd name="connsiteX0" fmla="*/ 644234 w 1045640"/>
                <a:gd name="connsiteY0" fmla="*/ 934628 h 934628"/>
                <a:gd name="connsiteX1" fmla="*/ 18760 w 1045640"/>
                <a:gd name="connsiteY1" fmla="*/ 832315 h 934628"/>
                <a:gd name="connsiteX2" fmla="*/ 1030066 w 1045640"/>
                <a:gd name="connsiteY2" fmla="*/ 22658 h 934628"/>
                <a:gd name="connsiteX3" fmla="*/ 1034313 w 1045640"/>
                <a:gd name="connsiteY3" fmla="*/ 9913 h 934628"/>
                <a:gd name="connsiteX4" fmla="*/ 1037853 w 1045640"/>
                <a:gd name="connsiteY4" fmla="*/ 11329 h 934628"/>
                <a:gd name="connsiteX5" fmla="*/ 1040331 w 1045640"/>
                <a:gd name="connsiteY5" fmla="*/ 14515 h 934628"/>
                <a:gd name="connsiteX6" fmla="*/ 1030066 w 1045640"/>
                <a:gd name="connsiteY6" fmla="*/ 22658 h 934628"/>
                <a:gd name="connsiteX7" fmla="*/ 736621 w 1045640"/>
                <a:gd name="connsiteY7" fmla="*/ 934628 h 934628"/>
                <a:gd name="connsiteX8" fmla="*/ 745116 w 1045640"/>
                <a:gd name="connsiteY8" fmla="*/ 934628 h 934628"/>
                <a:gd name="connsiteX9" fmla="*/ 1045641 w 1045640"/>
                <a:gd name="connsiteY9" fmla="*/ 0 h 934628"/>
                <a:gd name="connsiteX10" fmla="*/ 1035375 w 1045640"/>
                <a:gd name="connsiteY10" fmla="*/ 8143 h 934628"/>
                <a:gd name="connsiteX11" fmla="*/ 0 w 1045640"/>
                <a:gd name="connsiteY11" fmla="*/ 836917 h 934628"/>
                <a:gd name="connsiteX12" fmla="*/ 595031 w 1045640"/>
                <a:gd name="connsiteY12" fmla="*/ 934628 h 934628"/>
                <a:gd name="connsiteX13" fmla="*/ 644234 w 1045640"/>
                <a:gd name="connsiteY13" fmla="*/ 934628 h 934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5640" h="934628">
                  <a:moveTo>
                    <a:pt x="644234" y="934628"/>
                  </a:moveTo>
                  <a:lnTo>
                    <a:pt x="18760" y="832315"/>
                  </a:lnTo>
                  <a:lnTo>
                    <a:pt x="1030066" y="22658"/>
                  </a:lnTo>
                  <a:lnTo>
                    <a:pt x="1034313" y="9913"/>
                  </a:lnTo>
                  <a:lnTo>
                    <a:pt x="1037853" y="11329"/>
                  </a:lnTo>
                  <a:lnTo>
                    <a:pt x="1040331" y="14515"/>
                  </a:lnTo>
                  <a:lnTo>
                    <a:pt x="1030066" y="22658"/>
                  </a:lnTo>
                  <a:lnTo>
                    <a:pt x="736621" y="934628"/>
                  </a:lnTo>
                  <a:lnTo>
                    <a:pt x="745116" y="934628"/>
                  </a:lnTo>
                  <a:lnTo>
                    <a:pt x="1045641" y="0"/>
                  </a:lnTo>
                  <a:lnTo>
                    <a:pt x="1035375" y="8143"/>
                  </a:lnTo>
                  <a:lnTo>
                    <a:pt x="0" y="836917"/>
                  </a:lnTo>
                  <a:lnTo>
                    <a:pt x="595031" y="934628"/>
                  </a:lnTo>
                  <a:lnTo>
                    <a:pt x="644234" y="93462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2" name="Freihandform 395">
              <a:extLst>
                <a:ext uri="{FF2B5EF4-FFF2-40B4-BE49-F238E27FC236}">
                  <a16:creationId xmlns:a16="http://schemas.microsoft.com/office/drawing/2014/main" id="{EF55D84E-4FF0-4539-A0B5-525A9D90A954}"/>
                </a:ext>
              </a:extLst>
            </p:cNvPr>
            <p:cNvSpPr/>
            <p:nvPr/>
          </p:nvSpPr>
          <p:spPr>
            <a:xfrm>
              <a:off x="983656" y="2092582"/>
              <a:ext cx="1001039" cy="601135"/>
            </a:xfrm>
            <a:custGeom>
              <a:avLst/>
              <a:gdLst>
                <a:gd name="connsiteX0" fmla="*/ 416274 w 1001039"/>
                <a:gd name="connsiteY0" fmla="*/ 0 h 601135"/>
                <a:gd name="connsiteX1" fmla="*/ 413796 w 1001039"/>
                <a:gd name="connsiteY1" fmla="*/ 3540 h 601135"/>
                <a:gd name="connsiteX2" fmla="*/ 416628 w 1001039"/>
                <a:gd name="connsiteY2" fmla="*/ 6018 h 601135"/>
                <a:gd name="connsiteX3" fmla="*/ 419814 w 1001039"/>
                <a:gd name="connsiteY3" fmla="*/ 8497 h 601135"/>
                <a:gd name="connsiteX4" fmla="*/ 416982 w 1001039"/>
                <a:gd name="connsiteY4" fmla="*/ 12037 h 601135"/>
                <a:gd name="connsiteX5" fmla="*/ 980155 w 1001039"/>
                <a:gd name="connsiteY5" fmla="*/ 591223 h 601135"/>
                <a:gd name="connsiteX6" fmla="*/ 15575 w 1001039"/>
                <a:gd name="connsiteY6" fmla="*/ 500947 h 601135"/>
                <a:gd name="connsiteX7" fmla="*/ 416982 w 1001039"/>
                <a:gd name="connsiteY7" fmla="*/ 12037 h 601135"/>
                <a:gd name="connsiteX8" fmla="*/ 413796 w 1001039"/>
                <a:gd name="connsiteY8" fmla="*/ 8497 h 601135"/>
                <a:gd name="connsiteX9" fmla="*/ 416628 w 1001039"/>
                <a:gd name="connsiteY9" fmla="*/ 6018 h 601135"/>
                <a:gd name="connsiteX10" fmla="*/ 413796 w 1001039"/>
                <a:gd name="connsiteY10" fmla="*/ 3540 h 601135"/>
                <a:gd name="connsiteX11" fmla="*/ 0 w 1001039"/>
                <a:gd name="connsiteY11" fmla="*/ 507319 h 601135"/>
                <a:gd name="connsiteX12" fmla="*/ 1001040 w 1001039"/>
                <a:gd name="connsiteY12" fmla="*/ 601136 h 601135"/>
                <a:gd name="connsiteX13" fmla="*/ 416274 w 1001039"/>
                <a:gd name="connsiteY13" fmla="*/ 0 h 601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01039" h="601135">
                  <a:moveTo>
                    <a:pt x="416274" y="0"/>
                  </a:moveTo>
                  <a:lnTo>
                    <a:pt x="413796" y="3540"/>
                  </a:lnTo>
                  <a:lnTo>
                    <a:pt x="416628" y="6018"/>
                  </a:lnTo>
                  <a:lnTo>
                    <a:pt x="419814" y="8497"/>
                  </a:lnTo>
                  <a:lnTo>
                    <a:pt x="416982" y="12037"/>
                  </a:lnTo>
                  <a:lnTo>
                    <a:pt x="980155" y="591223"/>
                  </a:lnTo>
                  <a:lnTo>
                    <a:pt x="15575" y="500947"/>
                  </a:lnTo>
                  <a:lnTo>
                    <a:pt x="416982" y="12037"/>
                  </a:lnTo>
                  <a:lnTo>
                    <a:pt x="413796" y="8497"/>
                  </a:lnTo>
                  <a:lnTo>
                    <a:pt x="416628" y="6018"/>
                  </a:lnTo>
                  <a:lnTo>
                    <a:pt x="413796" y="3540"/>
                  </a:lnTo>
                  <a:lnTo>
                    <a:pt x="0" y="507319"/>
                  </a:lnTo>
                  <a:lnTo>
                    <a:pt x="1001040" y="601136"/>
                  </a:lnTo>
                  <a:lnTo>
                    <a:pt x="416274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7" name="Freihandform 396">
              <a:extLst>
                <a:ext uri="{FF2B5EF4-FFF2-40B4-BE49-F238E27FC236}">
                  <a16:creationId xmlns:a16="http://schemas.microsoft.com/office/drawing/2014/main" id="{71C70F96-DF98-4824-8C62-2CA4A3B3815F}"/>
                </a:ext>
              </a:extLst>
            </p:cNvPr>
            <p:cNvSpPr/>
            <p:nvPr/>
          </p:nvSpPr>
          <p:spPr>
            <a:xfrm>
              <a:off x="1397452" y="2098600"/>
              <a:ext cx="6017" cy="6018"/>
            </a:xfrm>
            <a:custGeom>
              <a:avLst/>
              <a:gdLst>
                <a:gd name="connsiteX0" fmla="*/ 6018 w 6017"/>
                <a:gd name="connsiteY0" fmla="*/ 2478 h 6018"/>
                <a:gd name="connsiteX1" fmla="*/ 2832 w 6017"/>
                <a:gd name="connsiteY1" fmla="*/ 0 h 6018"/>
                <a:gd name="connsiteX2" fmla="*/ 0 w 6017"/>
                <a:gd name="connsiteY2" fmla="*/ 2478 h 6018"/>
                <a:gd name="connsiteX3" fmla="*/ 3186 w 6017"/>
                <a:gd name="connsiteY3" fmla="*/ 6018 h 6018"/>
                <a:gd name="connsiteX4" fmla="*/ 6018 w 6017"/>
                <a:gd name="connsiteY4" fmla="*/ 2478 h 6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6018">
                  <a:moveTo>
                    <a:pt x="6018" y="2478"/>
                  </a:moveTo>
                  <a:lnTo>
                    <a:pt x="2832" y="0"/>
                  </a:lnTo>
                  <a:lnTo>
                    <a:pt x="0" y="2478"/>
                  </a:lnTo>
                  <a:lnTo>
                    <a:pt x="3186" y="6018"/>
                  </a:lnTo>
                  <a:lnTo>
                    <a:pt x="6018" y="247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8" name="Freihandform 397">
              <a:extLst>
                <a:ext uri="{FF2B5EF4-FFF2-40B4-BE49-F238E27FC236}">
                  <a16:creationId xmlns:a16="http://schemas.microsoft.com/office/drawing/2014/main" id="{8CC71158-6DDA-4771-ACED-A5B38B55AB15}"/>
                </a:ext>
              </a:extLst>
            </p:cNvPr>
            <p:cNvSpPr/>
            <p:nvPr/>
          </p:nvSpPr>
          <p:spPr>
            <a:xfrm>
              <a:off x="859764" y="3318219"/>
              <a:ext cx="6371" cy="7434"/>
            </a:xfrm>
            <a:custGeom>
              <a:avLst/>
              <a:gdLst>
                <a:gd name="connsiteX0" fmla="*/ 3894 w 6371"/>
                <a:gd name="connsiteY0" fmla="*/ 7434 h 7434"/>
                <a:gd name="connsiteX1" fmla="*/ 6371 w 6371"/>
                <a:gd name="connsiteY1" fmla="*/ 4602 h 7434"/>
                <a:gd name="connsiteX2" fmla="*/ 1062 w 6371"/>
                <a:gd name="connsiteY2" fmla="*/ 0 h 7434"/>
                <a:gd name="connsiteX3" fmla="*/ 0 w 6371"/>
                <a:gd name="connsiteY3" fmla="*/ 6726 h 7434"/>
                <a:gd name="connsiteX4" fmla="*/ 3894 w 6371"/>
                <a:gd name="connsiteY4" fmla="*/ 7434 h 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71" h="7434">
                  <a:moveTo>
                    <a:pt x="3894" y="7434"/>
                  </a:moveTo>
                  <a:lnTo>
                    <a:pt x="6371" y="4602"/>
                  </a:lnTo>
                  <a:lnTo>
                    <a:pt x="1062" y="0"/>
                  </a:lnTo>
                  <a:lnTo>
                    <a:pt x="0" y="6726"/>
                  </a:lnTo>
                  <a:lnTo>
                    <a:pt x="3894" y="743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89" name="Freihandform 398">
              <a:extLst>
                <a:ext uri="{FF2B5EF4-FFF2-40B4-BE49-F238E27FC236}">
                  <a16:creationId xmlns:a16="http://schemas.microsoft.com/office/drawing/2014/main" id="{D85C077E-C5E9-4C53-866E-135AAF43DE94}"/>
                </a:ext>
              </a:extLst>
            </p:cNvPr>
            <p:cNvSpPr/>
            <p:nvPr/>
          </p:nvSpPr>
          <p:spPr>
            <a:xfrm>
              <a:off x="718174" y="2595298"/>
              <a:ext cx="277161" cy="737789"/>
            </a:xfrm>
            <a:custGeom>
              <a:avLst/>
              <a:gdLst>
                <a:gd name="connsiteX0" fmla="*/ 148315 w 277161"/>
                <a:gd name="connsiteY0" fmla="*/ 737790 h 737789"/>
                <a:gd name="connsiteX1" fmla="*/ 149377 w 277161"/>
                <a:gd name="connsiteY1" fmla="*/ 731063 h 737789"/>
                <a:gd name="connsiteX2" fmla="*/ 145483 w 277161"/>
                <a:gd name="connsiteY2" fmla="*/ 730355 h 737789"/>
                <a:gd name="connsiteX3" fmla="*/ 141590 w 277161"/>
                <a:gd name="connsiteY3" fmla="*/ 729647 h 737789"/>
                <a:gd name="connsiteX4" fmla="*/ 142652 w 277161"/>
                <a:gd name="connsiteY4" fmla="*/ 722921 h 737789"/>
                <a:gd name="connsiteX5" fmla="*/ 9911 w 277161"/>
                <a:gd name="connsiteY5" fmla="*/ 613881 h 737789"/>
                <a:gd name="connsiteX6" fmla="*/ 263711 w 277161"/>
                <a:gd name="connsiteY6" fmla="*/ 33279 h 737789"/>
                <a:gd name="connsiteX7" fmla="*/ 142652 w 277161"/>
                <a:gd name="connsiteY7" fmla="*/ 722921 h 737789"/>
                <a:gd name="connsiteX8" fmla="*/ 147961 w 277161"/>
                <a:gd name="connsiteY8" fmla="*/ 727523 h 737789"/>
                <a:gd name="connsiteX9" fmla="*/ 145483 w 277161"/>
                <a:gd name="connsiteY9" fmla="*/ 730355 h 737789"/>
                <a:gd name="connsiteX10" fmla="*/ 149377 w 277161"/>
                <a:gd name="connsiteY10" fmla="*/ 731063 h 737789"/>
                <a:gd name="connsiteX11" fmla="*/ 277162 w 277161"/>
                <a:gd name="connsiteY11" fmla="*/ 2124 h 737789"/>
                <a:gd name="connsiteX12" fmla="*/ 269729 w 277161"/>
                <a:gd name="connsiteY12" fmla="*/ 0 h 737789"/>
                <a:gd name="connsiteX13" fmla="*/ 0 w 277161"/>
                <a:gd name="connsiteY13" fmla="*/ 616005 h 737789"/>
                <a:gd name="connsiteX14" fmla="*/ 148315 w 277161"/>
                <a:gd name="connsiteY14" fmla="*/ 737790 h 73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7161" h="737789">
                  <a:moveTo>
                    <a:pt x="148315" y="737790"/>
                  </a:moveTo>
                  <a:lnTo>
                    <a:pt x="149377" y="731063"/>
                  </a:lnTo>
                  <a:lnTo>
                    <a:pt x="145483" y="730355"/>
                  </a:lnTo>
                  <a:lnTo>
                    <a:pt x="141590" y="729647"/>
                  </a:lnTo>
                  <a:lnTo>
                    <a:pt x="142652" y="722921"/>
                  </a:lnTo>
                  <a:lnTo>
                    <a:pt x="9911" y="613881"/>
                  </a:lnTo>
                  <a:lnTo>
                    <a:pt x="263711" y="33279"/>
                  </a:lnTo>
                  <a:lnTo>
                    <a:pt x="142652" y="722921"/>
                  </a:lnTo>
                  <a:lnTo>
                    <a:pt x="147961" y="727523"/>
                  </a:lnTo>
                  <a:lnTo>
                    <a:pt x="145483" y="730355"/>
                  </a:lnTo>
                  <a:lnTo>
                    <a:pt x="149377" y="731063"/>
                  </a:lnTo>
                  <a:lnTo>
                    <a:pt x="277162" y="2124"/>
                  </a:lnTo>
                  <a:lnTo>
                    <a:pt x="269729" y="0"/>
                  </a:lnTo>
                  <a:lnTo>
                    <a:pt x="0" y="616005"/>
                  </a:lnTo>
                  <a:lnTo>
                    <a:pt x="148315" y="73779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98" name="Freihandform 399">
              <a:extLst>
                <a:ext uri="{FF2B5EF4-FFF2-40B4-BE49-F238E27FC236}">
                  <a16:creationId xmlns:a16="http://schemas.microsoft.com/office/drawing/2014/main" id="{8A36A608-6A24-4562-924E-C9A4CF62740D}"/>
                </a:ext>
              </a:extLst>
            </p:cNvPr>
            <p:cNvSpPr/>
            <p:nvPr/>
          </p:nvSpPr>
          <p:spPr>
            <a:xfrm>
              <a:off x="387917" y="2458645"/>
              <a:ext cx="609189" cy="761509"/>
            </a:xfrm>
            <a:custGeom>
              <a:avLst/>
              <a:gdLst>
                <a:gd name="connsiteX0" fmla="*/ 609190 w 609189"/>
                <a:gd name="connsiteY0" fmla="*/ 135238 h 761509"/>
                <a:gd name="connsiteX1" fmla="*/ 604588 w 609189"/>
                <a:gd name="connsiteY1" fmla="*/ 134176 h 761509"/>
                <a:gd name="connsiteX2" fmla="*/ 603880 w 609189"/>
                <a:gd name="connsiteY2" fmla="*/ 138070 h 761509"/>
                <a:gd name="connsiteX3" fmla="*/ 602819 w 609189"/>
                <a:gd name="connsiteY3" fmla="*/ 141964 h 761509"/>
                <a:gd name="connsiteX4" fmla="*/ 598217 w 609189"/>
                <a:gd name="connsiteY4" fmla="*/ 140902 h 761509"/>
                <a:gd name="connsiteX5" fmla="*/ 335214 w 609189"/>
                <a:gd name="connsiteY5" fmla="*/ 741684 h 761509"/>
                <a:gd name="connsiteX6" fmla="*/ 13805 w 609189"/>
                <a:gd name="connsiteY6" fmla="*/ 11329 h 761509"/>
                <a:gd name="connsiteX7" fmla="*/ 598217 w 609189"/>
                <a:gd name="connsiteY7" fmla="*/ 140902 h 761509"/>
                <a:gd name="connsiteX8" fmla="*/ 599987 w 609189"/>
                <a:gd name="connsiteY8" fmla="*/ 136654 h 761509"/>
                <a:gd name="connsiteX9" fmla="*/ 603880 w 609189"/>
                <a:gd name="connsiteY9" fmla="*/ 138070 h 761509"/>
                <a:gd name="connsiteX10" fmla="*/ 604588 w 609189"/>
                <a:gd name="connsiteY10" fmla="*/ 134176 h 761509"/>
                <a:gd name="connsiteX11" fmla="*/ 0 w 609189"/>
                <a:gd name="connsiteY11" fmla="*/ 0 h 761509"/>
                <a:gd name="connsiteX12" fmla="*/ 335214 w 609189"/>
                <a:gd name="connsiteY12" fmla="*/ 761509 h 761509"/>
                <a:gd name="connsiteX13" fmla="*/ 609190 w 609189"/>
                <a:gd name="connsiteY13" fmla="*/ 135238 h 76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09189" h="761509">
                  <a:moveTo>
                    <a:pt x="609190" y="135238"/>
                  </a:moveTo>
                  <a:lnTo>
                    <a:pt x="604588" y="134176"/>
                  </a:lnTo>
                  <a:lnTo>
                    <a:pt x="603880" y="138070"/>
                  </a:lnTo>
                  <a:lnTo>
                    <a:pt x="602819" y="141964"/>
                  </a:lnTo>
                  <a:lnTo>
                    <a:pt x="598217" y="140902"/>
                  </a:lnTo>
                  <a:lnTo>
                    <a:pt x="335214" y="741684"/>
                  </a:lnTo>
                  <a:lnTo>
                    <a:pt x="13805" y="11329"/>
                  </a:lnTo>
                  <a:lnTo>
                    <a:pt x="598217" y="140902"/>
                  </a:lnTo>
                  <a:lnTo>
                    <a:pt x="599987" y="136654"/>
                  </a:lnTo>
                  <a:lnTo>
                    <a:pt x="603880" y="138070"/>
                  </a:lnTo>
                  <a:lnTo>
                    <a:pt x="604588" y="134176"/>
                  </a:lnTo>
                  <a:lnTo>
                    <a:pt x="0" y="0"/>
                  </a:lnTo>
                  <a:lnTo>
                    <a:pt x="335214" y="761509"/>
                  </a:lnTo>
                  <a:lnTo>
                    <a:pt x="609190" y="13523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299" name="Freihandform 400">
              <a:extLst>
                <a:ext uri="{FF2B5EF4-FFF2-40B4-BE49-F238E27FC236}">
                  <a16:creationId xmlns:a16="http://schemas.microsoft.com/office/drawing/2014/main" id="{EE32F74D-FE69-4882-A31A-9C4ABFC227BA}"/>
                </a:ext>
              </a:extLst>
            </p:cNvPr>
            <p:cNvSpPr/>
            <p:nvPr/>
          </p:nvSpPr>
          <p:spPr>
            <a:xfrm>
              <a:off x="986134" y="2595298"/>
              <a:ext cx="5663" cy="5310"/>
            </a:xfrm>
            <a:custGeom>
              <a:avLst/>
              <a:gdLst>
                <a:gd name="connsiteX0" fmla="*/ 4602 w 5663"/>
                <a:gd name="connsiteY0" fmla="*/ 5310 h 5310"/>
                <a:gd name="connsiteX1" fmla="*/ 5664 w 5663"/>
                <a:gd name="connsiteY1" fmla="*/ 1416 h 5310"/>
                <a:gd name="connsiteX2" fmla="*/ 1770 w 5663"/>
                <a:gd name="connsiteY2" fmla="*/ 0 h 5310"/>
                <a:gd name="connsiteX3" fmla="*/ 0 w 5663"/>
                <a:gd name="connsiteY3" fmla="*/ 4249 h 5310"/>
                <a:gd name="connsiteX4" fmla="*/ 4602 w 5663"/>
                <a:gd name="connsiteY4" fmla="*/ 5310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63" h="5310">
                  <a:moveTo>
                    <a:pt x="4602" y="5310"/>
                  </a:moveTo>
                  <a:lnTo>
                    <a:pt x="5664" y="1416"/>
                  </a:lnTo>
                  <a:lnTo>
                    <a:pt x="1770" y="0"/>
                  </a:lnTo>
                  <a:lnTo>
                    <a:pt x="0" y="4249"/>
                  </a:lnTo>
                  <a:lnTo>
                    <a:pt x="4602" y="531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07" name="Freihandform 401">
              <a:extLst>
                <a:ext uri="{FF2B5EF4-FFF2-40B4-BE49-F238E27FC236}">
                  <a16:creationId xmlns:a16="http://schemas.microsoft.com/office/drawing/2014/main" id="{F2D69F9D-F14B-4798-945F-BAEA5B79EF42}"/>
                </a:ext>
              </a:extLst>
            </p:cNvPr>
            <p:cNvSpPr/>
            <p:nvPr/>
          </p:nvSpPr>
          <p:spPr>
            <a:xfrm>
              <a:off x="1388249" y="2096123"/>
              <a:ext cx="13451" cy="10974"/>
            </a:xfrm>
            <a:custGeom>
              <a:avLst/>
              <a:gdLst>
                <a:gd name="connsiteX0" fmla="*/ 12035 w 13451"/>
                <a:gd name="connsiteY0" fmla="*/ 2478 h 10974"/>
                <a:gd name="connsiteX1" fmla="*/ 9203 w 13451"/>
                <a:gd name="connsiteY1" fmla="*/ 0 h 10974"/>
                <a:gd name="connsiteX2" fmla="*/ 0 w 13451"/>
                <a:gd name="connsiteY2" fmla="*/ 10975 h 10974"/>
                <a:gd name="connsiteX3" fmla="*/ 13451 w 13451"/>
                <a:gd name="connsiteY3" fmla="*/ 6018 h 10974"/>
                <a:gd name="connsiteX4" fmla="*/ 12035 w 13451"/>
                <a:gd name="connsiteY4" fmla="*/ 2478 h 1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51" h="10974">
                  <a:moveTo>
                    <a:pt x="12035" y="2478"/>
                  </a:moveTo>
                  <a:lnTo>
                    <a:pt x="9203" y="0"/>
                  </a:lnTo>
                  <a:lnTo>
                    <a:pt x="0" y="10975"/>
                  </a:lnTo>
                  <a:lnTo>
                    <a:pt x="13451" y="6018"/>
                  </a:lnTo>
                  <a:lnTo>
                    <a:pt x="12035" y="247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0" name="Freihandform 402">
              <a:extLst>
                <a:ext uri="{FF2B5EF4-FFF2-40B4-BE49-F238E27FC236}">
                  <a16:creationId xmlns:a16="http://schemas.microsoft.com/office/drawing/2014/main" id="{CA772E73-3B76-4A08-B1AC-E4A378FA46CD}"/>
                </a:ext>
              </a:extLst>
            </p:cNvPr>
            <p:cNvSpPr/>
            <p:nvPr/>
          </p:nvSpPr>
          <p:spPr>
            <a:xfrm>
              <a:off x="380484" y="2089750"/>
              <a:ext cx="1032189" cy="511567"/>
            </a:xfrm>
            <a:custGeom>
              <a:avLst/>
              <a:gdLst>
                <a:gd name="connsiteX0" fmla="*/ 1032190 w 1032189"/>
                <a:gd name="connsiteY0" fmla="*/ 0 h 511567"/>
                <a:gd name="connsiteX1" fmla="*/ 1018739 w 1032189"/>
                <a:gd name="connsiteY1" fmla="*/ 4956 h 511567"/>
                <a:gd name="connsiteX2" fmla="*/ 1019801 w 1032189"/>
                <a:gd name="connsiteY2" fmla="*/ 8851 h 511567"/>
                <a:gd name="connsiteX3" fmla="*/ 1021217 w 1032189"/>
                <a:gd name="connsiteY3" fmla="*/ 12391 h 511567"/>
                <a:gd name="connsiteX4" fmla="*/ 1007765 w 1032189"/>
                <a:gd name="connsiteY4" fmla="*/ 17347 h 511567"/>
                <a:gd name="connsiteX5" fmla="*/ 609544 w 1032189"/>
                <a:gd name="connsiteY5" fmla="*/ 502362 h 511567"/>
                <a:gd name="connsiteX6" fmla="*/ 28672 w 1032189"/>
                <a:gd name="connsiteY6" fmla="*/ 373851 h 511567"/>
                <a:gd name="connsiteX7" fmla="*/ 1007765 w 1032189"/>
                <a:gd name="connsiteY7" fmla="*/ 17347 h 511567"/>
                <a:gd name="connsiteX8" fmla="*/ 1016969 w 1032189"/>
                <a:gd name="connsiteY8" fmla="*/ 6372 h 511567"/>
                <a:gd name="connsiteX9" fmla="*/ 1019801 w 1032189"/>
                <a:gd name="connsiteY9" fmla="*/ 8851 h 511567"/>
                <a:gd name="connsiteX10" fmla="*/ 1018739 w 1032189"/>
                <a:gd name="connsiteY10" fmla="*/ 4956 h 511567"/>
                <a:gd name="connsiteX11" fmla="*/ 0 w 1032189"/>
                <a:gd name="connsiteY11" fmla="*/ 375622 h 511567"/>
                <a:gd name="connsiteX12" fmla="*/ 612376 w 1032189"/>
                <a:gd name="connsiteY12" fmla="*/ 511568 h 511567"/>
                <a:gd name="connsiteX13" fmla="*/ 1032190 w 1032189"/>
                <a:gd name="connsiteY13" fmla="*/ 0 h 511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32189" h="511567">
                  <a:moveTo>
                    <a:pt x="1032190" y="0"/>
                  </a:moveTo>
                  <a:lnTo>
                    <a:pt x="1018739" y="4956"/>
                  </a:lnTo>
                  <a:lnTo>
                    <a:pt x="1019801" y="8851"/>
                  </a:lnTo>
                  <a:lnTo>
                    <a:pt x="1021217" y="12391"/>
                  </a:lnTo>
                  <a:lnTo>
                    <a:pt x="1007765" y="17347"/>
                  </a:lnTo>
                  <a:lnTo>
                    <a:pt x="609544" y="502362"/>
                  </a:lnTo>
                  <a:lnTo>
                    <a:pt x="28672" y="373851"/>
                  </a:lnTo>
                  <a:lnTo>
                    <a:pt x="1007765" y="17347"/>
                  </a:lnTo>
                  <a:lnTo>
                    <a:pt x="1016969" y="6372"/>
                  </a:lnTo>
                  <a:lnTo>
                    <a:pt x="1019801" y="8851"/>
                  </a:lnTo>
                  <a:lnTo>
                    <a:pt x="1018739" y="4956"/>
                  </a:lnTo>
                  <a:lnTo>
                    <a:pt x="0" y="375622"/>
                  </a:lnTo>
                  <a:lnTo>
                    <a:pt x="612376" y="511568"/>
                  </a:lnTo>
                  <a:lnTo>
                    <a:pt x="1032190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1" name="Freihandform 403">
              <a:extLst>
                <a:ext uri="{FF2B5EF4-FFF2-40B4-BE49-F238E27FC236}">
                  <a16:creationId xmlns:a16="http://schemas.microsoft.com/office/drawing/2014/main" id="{2B41E962-627A-4626-95BF-21EFFF1BAEA6}"/>
                </a:ext>
              </a:extLst>
            </p:cNvPr>
            <p:cNvSpPr/>
            <p:nvPr/>
          </p:nvSpPr>
          <p:spPr>
            <a:xfrm>
              <a:off x="1966289" y="2687346"/>
              <a:ext cx="10264" cy="12036"/>
            </a:xfrm>
            <a:custGeom>
              <a:avLst/>
              <a:gdLst>
                <a:gd name="connsiteX0" fmla="*/ 10265 w 10264"/>
                <a:gd name="connsiteY0" fmla="*/ 4603 h 12036"/>
                <a:gd name="connsiteX1" fmla="*/ 7787 w 10264"/>
                <a:gd name="connsiteY1" fmla="*/ 1416 h 12036"/>
                <a:gd name="connsiteX2" fmla="*/ 4248 w 10264"/>
                <a:gd name="connsiteY2" fmla="*/ 0 h 12036"/>
                <a:gd name="connsiteX3" fmla="*/ 0 w 10264"/>
                <a:gd name="connsiteY3" fmla="*/ 12037 h 12036"/>
                <a:gd name="connsiteX4" fmla="*/ 10265 w 10264"/>
                <a:gd name="connsiteY4" fmla="*/ 4603 h 12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64" h="12036">
                  <a:moveTo>
                    <a:pt x="10265" y="4603"/>
                  </a:moveTo>
                  <a:lnTo>
                    <a:pt x="7787" y="1416"/>
                  </a:lnTo>
                  <a:lnTo>
                    <a:pt x="4248" y="0"/>
                  </a:lnTo>
                  <a:lnTo>
                    <a:pt x="0" y="12037"/>
                  </a:lnTo>
                  <a:lnTo>
                    <a:pt x="10265" y="460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2" name="Freihandform 404">
              <a:extLst>
                <a:ext uri="{FF2B5EF4-FFF2-40B4-BE49-F238E27FC236}">
                  <a16:creationId xmlns:a16="http://schemas.microsoft.com/office/drawing/2014/main" id="{ED532A63-DACD-45B3-8362-684C4346492E}"/>
                </a:ext>
              </a:extLst>
            </p:cNvPr>
            <p:cNvSpPr/>
            <p:nvPr/>
          </p:nvSpPr>
          <p:spPr>
            <a:xfrm>
              <a:off x="1963457" y="2685576"/>
              <a:ext cx="10619" cy="7080"/>
            </a:xfrm>
            <a:custGeom>
              <a:avLst/>
              <a:gdLst>
                <a:gd name="connsiteX0" fmla="*/ 10619 w 10619"/>
                <a:gd name="connsiteY0" fmla="*/ 3186 h 7080"/>
                <a:gd name="connsiteX1" fmla="*/ 8495 w 10619"/>
                <a:gd name="connsiteY1" fmla="*/ 0 h 7080"/>
                <a:gd name="connsiteX2" fmla="*/ 0 w 10619"/>
                <a:gd name="connsiteY2" fmla="*/ 6019 h 7080"/>
                <a:gd name="connsiteX3" fmla="*/ 10265 w 10619"/>
                <a:gd name="connsiteY3" fmla="*/ 7081 h 7080"/>
                <a:gd name="connsiteX4" fmla="*/ 10619 w 10619"/>
                <a:gd name="connsiteY4" fmla="*/ 3186 h 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9" h="7080">
                  <a:moveTo>
                    <a:pt x="10619" y="3186"/>
                  </a:moveTo>
                  <a:lnTo>
                    <a:pt x="8495" y="0"/>
                  </a:lnTo>
                  <a:lnTo>
                    <a:pt x="0" y="6019"/>
                  </a:lnTo>
                  <a:lnTo>
                    <a:pt x="10265" y="7081"/>
                  </a:lnTo>
                  <a:lnTo>
                    <a:pt x="10619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3" name="Freihandform 405">
              <a:extLst>
                <a:ext uri="{FF2B5EF4-FFF2-40B4-BE49-F238E27FC236}">
                  <a16:creationId xmlns:a16="http://schemas.microsoft.com/office/drawing/2014/main" id="{5752668B-A940-4F5A-9E98-EDE77589A3C5}"/>
                </a:ext>
              </a:extLst>
            </p:cNvPr>
            <p:cNvSpPr/>
            <p:nvPr/>
          </p:nvSpPr>
          <p:spPr>
            <a:xfrm>
              <a:off x="987196" y="2592112"/>
              <a:ext cx="997500" cy="785229"/>
            </a:xfrm>
            <a:custGeom>
              <a:avLst/>
              <a:gdLst>
                <a:gd name="connsiteX0" fmla="*/ 997500 w 997500"/>
                <a:gd name="connsiteY0" fmla="*/ 93463 h 785229"/>
                <a:gd name="connsiteX1" fmla="*/ 987589 w 997500"/>
                <a:gd name="connsiteY1" fmla="*/ 92755 h 785229"/>
                <a:gd name="connsiteX2" fmla="*/ 986881 w 997500"/>
                <a:gd name="connsiteY2" fmla="*/ 96649 h 785229"/>
                <a:gd name="connsiteX3" fmla="*/ 986527 w 997500"/>
                <a:gd name="connsiteY3" fmla="*/ 100543 h 785229"/>
                <a:gd name="connsiteX4" fmla="*/ 976262 w 997500"/>
                <a:gd name="connsiteY4" fmla="*/ 99482 h 785229"/>
                <a:gd name="connsiteX5" fmla="*/ 78582 w 997500"/>
                <a:gd name="connsiteY5" fmla="*/ 770361 h 785229"/>
                <a:gd name="connsiteX6" fmla="*/ 8849 w 997500"/>
                <a:gd name="connsiteY6" fmla="*/ 8851 h 785229"/>
                <a:gd name="connsiteX7" fmla="*/ 976262 w 997500"/>
                <a:gd name="connsiteY7" fmla="*/ 99482 h 785229"/>
                <a:gd name="connsiteX8" fmla="*/ 984757 w 997500"/>
                <a:gd name="connsiteY8" fmla="*/ 93463 h 785229"/>
                <a:gd name="connsiteX9" fmla="*/ 986881 w 997500"/>
                <a:gd name="connsiteY9" fmla="*/ 96649 h 785229"/>
                <a:gd name="connsiteX10" fmla="*/ 987589 w 997500"/>
                <a:gd name="connsiteY10" fmla="*/ 92755 h 785229"/>
                <a:gd name="connsiteX11" fmla="*/ 0 w 997500"/>
                <a:gd name="connsiteY11" fmla="*/ 0 h 785229"/>
                <a:gd name="connsiteX12" fmla="*/ 72211 w 997500"/>
                <a:gd name="connsiteY12" fmla="*/ 785229 h 785229"/>
                <a:gd name="connsiteX13" fmla="*/ 997500 w 997500"/>
                <a:gd name="connsiteY13" fmla="*/ 93463 h 785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7500" h="785229">
                  <a:moveTo>
                    <a:pt x="997500" y="93463"/>
                  </a:moveTo>
                  <a:lnTo>
                    <a:pt x="987589" y="92755"/>
                  </a:lnTo>
                  <a:lnTo>
                    <a:pt x="986881" y="96649"/>
                  </a:lnTo>
                  <a:lnTo>
                    <a:pt x="986527" y="100543"/>
                  </a:lnTo>
                  <a:lnTo>
                    <a:pt x="976262" y="99482"/>
                  </a:lnTo>
                  <a:lnTo>
                    <a:pt x="78582" y="770361"/>
                  </a:lnTo>
                  <a:lnTo>
                    <a:pt x="8849" y="8851"/>
                  </a:lnTo>
                  <a:lnTo>
                    <a:pt x="976262" y="99482"/>
                  </a:lnTo>
                  <a:lnTo>
                    <a:pt x="984757" y="93463"/>
                  </a:lnTo>
                  <a:lnTo>
                    <a:pt x="986881" y="96649"/>
                  </a:lnTo>
                  <a:lnTo>
                    <a:pt x="987589" y="92755"/>
                  </a:lnTo>
                  <a:lnTo>
                    <a:pt x="0" y="0"/>
                  </a:lnTo>
                  <a:lnTo>
                    <a:pt x="72211" y="785229"/>
                  </a:lnTo>
                  <a:lnTo>
                    <a:pt x="997500" y="9346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4" name="Freihandform 406">
              <a:extLst>
                <a:ext uri="{FF2B5EF4-FFF2-40B4-BE49-F238E27FC236}">
                  <a16:creationId xmlns:a16="http://schemas.microsoft.com/office/drawing/2014/main" id="{A3ACBCAA-3FF7-405E-A85E-EBC1BB5D920E}"/>
                </a:ext>
              </a:extLst>
            </p:cNvPr>
            <p:cNvSpPr/>
            <p:nvPr/>
          </p:nvSpPr>
          <p:spPr>
            <a:xfrm>
              <a:off x="859057" y="2596007"/>
              <a:ext cx="207783" cy="778856"/>
            </a:xfrm>
            <a:custGeom>
              <a:avLst/>
              <a:gdLst>
                <a:gd name="connsiteX0" fmla="*/ 207783 w 207783"/>
                <a:gd name="connsiteY0" fmla="*/ 778857 h 778856"/>
                <a:gd name="connsiteX1" fmla="*/ 207429 w 207783"/>
                <a:gd name="connsiteY1" fmla="*/ 773546 h 778856"/>
                <a:gd name="connsiteX2" fmla="*/ 203535 w 207783"/>
                <a:gd name="connsiteY2" fmla="*/ 773900 h 778856"/>
                <a:gd name="connsiteX3" fmla="*/ 199642 w 207783"/>
                <a:gd name="connsiteY3" fmla="*/ 774254 h 778856"/>
                <a:gd name="connsiteX4" fmla="*/ 198934 w 207783"/>
                <a:gd name="connsiteY4" fmla="*/ 768590 h 778856"/>
                <a:gd name="connsiteX5" fmla="*/ 9203 w 207783"/>
                <a:gd name="connsiteY5" fmla="*/ 726815 h 778856"/>
                <a:gd name="connsiteX6" fmla="*/ 130971 w 207783"/>
                <a:gd name="connsiteY6" fmla="*/ 30800 h 778856"/>
                <a:gd name="connsiteX7" fmla="*/ 198934 w 207783"/>
                <a:gd name="connsiteY7" fmla="*/ 768590 h 778856"/>
                <a:gd name="connsiteX8" fmla="*/ 204243 w 207783"/>
                <a:gd name="connsiteY8" fmla="*/ 770006 h 778856"/>
                <a:gd name="connsiteX9" fmla="*/ 203535 w 207783"/>
                <a:gd name="connsiteY9" fmla="*/ 773900 h 778856"/>
                <a:gd name="connsiteX10" fmla="*/ 207429 w 207783"/>
                <a:gd name="connsiteY10" fmla="*/ 773546 h 778856"/>
                <a:gd name="connsiteX11" fmla="*/ 136280 w 207783"/>
                <a:gd name="connsiteY11" fmla="*/ 354 h 778856"/>
                <a:gd name="connsiteX12" fmla="*/ 128493 w 207783"/>
                <a:gd name="connsiteY12" fmla="*/ 0 h 778856"/>
                <a:gd name="connsiteX13" fmla="*/ 0 w 207783"/>
                <a:gd name="connsiteY13" fmla="*/ 732833 h 778856"/>
                <a:gd name="connsiteX14" fmla="*/ 207783 w 207783"/>
                <a:gd name="connsiteY14" fmla="*/ 778857 h 778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783" h="778856">
                  <a:moveTo>
                    <a:pt x="207783" y="778857"/>
                  </a:moveTo>
                  <a:lnTo>
                    <a:pt x="207429" y="773546"/>
                  </a:lnTo>
                  <a:lnTo>
                    <a:pt x="203535" y="773900"/>
                  </a:lnTo>
                  <a:lnTo>
                    <a:pt x="199642" y="774254"/>
                  </a:lnTo>
                  <a:lnTo>
                    <a:pt x="198934" y="768590"/>
                  </a:lnTo>
                  <a:lnTo>
                    <a:pt x="9203" y="726815"/>
                  </a:lnTo>
                  <a:lnTo>
                    <a:pt x="130971" y="30800"/>
                  </a:lnTo>
                  <a:lnTo>
                    <a:pt x="198934" y="768590"/>
                  </a:lnTo>
                  <a:lnTo>
                    <a:pt x="204243" y="770006"/>
                  </a:lnTo>
                  <a:lnTo>
                    <a:pt x="203535" y="773900"/>
                  </a:lnTo>
                  <a:lnTo>
                    <a:pt x="207429" y="773546"/>
                  </a:lnTo>
                  <a:lnTo>
                    <a:pt x="136280" y="354"/>
                  </a:lnTo>
                  <a:lnTo>
                    <a:pt x="128493" y="0"/>
                  </a:lnTo>
                  <a:lnTo>
                    <a:pt x="0" y="732833"/>
                  </a:lnTo>
                  <a:lnTo>
                    <a:pt x="207783" y="778857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5" name="Freihandform 407">
              <a:extLst>
                <a:ext uri="{FF2B5EF4-FFF2-40B4-BE49-F238E27FC236}">
                  <a16:creationId xmlns:a16="http://schemas.microsoft.com/office/drawing/2014/main" id="{C9438E0C-271D-498C-984F-777C412225A3}"/>
                </a:ext>
              </a:extLst>
            </p:cNvPr>
            <p:cNvSpPr/>
            <p:nvPr/>
          </p:nvSpPr>
          <p:spPr>
            <a:xfrm>
              <a:off x="1057991" y="3364597"/>
              <a:ext cx="5309" cy="5664"/>
            </a:xfrm>
            <a:custGeom>
              <a:avLst/>
              <a:gdLst>
                <a:gd name="connsiteX0" fmla="*/ 4602 w 5309"/>
                <a:gd name="connsiteY0" fmla="*/ 5310 h 5664"/>
                <a:gd name="connsiteX1" fmla="*/ 5310 w 5309"/>
                <a:gd name="connsiteY1" fmla="*/ 1416 h 5664"/>
                <a:gd name="connsiteX2" fmla="*/ 0 w 5309"/>
                <a:gd name="connsiteY2" fmla="*/ 0 h 5664"/>
                <a:gd name="connsiteX3" fmla="*/ 708 w 5309"/>
                <a:gd name="connsiteY3" fmla="*/ 5664 h 5664"/>
                <a:gd name="connsiteX4" fmla="*/ 4602 w 5309"/>
                <a:gd name="connsiteY4" fmla="*/ 5310 h 5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664">
                  <a:moveTo>
                    <a:pt x="4602" y="5310"/>
                  </a:moveTo>
                  <a:lnTo>
                    <a:pt x="5310" y="1416"/>
                  </a:lnTo>
                  <a:lnTo>
                    <a:pt x="0" y="0"/>
                  </a:lnTo>
                  <a:lnTo>
                    <a:pt x="708" y="5664"/>
                  </a:lnTo>
                  <a:lnTo>
                    <a:pt x="4602" y="531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6" name="Freihandform 408">
              <a:extLst>
                <a:ext uri="{FF2B5EF4-FFF2-40B4-BE49-F238E27FC236}">
                  <a16:creationId xmlns:a16="http://schemas.microsoft.com/office/drawing/2014/main" id="{5875E024-BB9B-4C31-8DFD-30E81CDF68A5}"/>
                </a:ext>
              </a:extLst>
            </p:cNvPr>
            <p:cNvSpPr/>
            <p:nvPr/>
          </p:nvSpPr>
          <p:spPr>
            <a:xfrm>
              <a:off x="1329489" y="5083745"/>
              <a:ext cx="1959248" cy="592993"/>
            </a:xfrm>
            <a:custGeom>
              <a:avLst/>
              <a:gdLst>
                <a:gd name="connsiteX0" fmla="*/ 1957833 w 1959248"/>
                <a:gd name="connsiteY0" fmla="*/ 592993 h 592993"/>
                <a:gd name="connsiteX1" fmla="*/ 1959249 w 1959248"/>
                <a:gd name="connsiteY1" fmla="*/ 585205 h 592993"/>
                <a:gd name="connsiteX2" fmla="*/ 1958187 w 1959248"/>
                <a:gd name="connsiteY2" fmla="*/ 588745 h 592993"/>
                <a:gd name="connsiteX3" fmla="*/ 1956771 w 1959248"/>
                <a:gd name="connsiteY3" fmla="*/ 592639 h 592993"/>
                <a:gd name="connsiteX4" fmla="*/ 1929515 w 1959248"/>
                <a:gd name="connsiteY4" fmla="*/ 584143 h 592993"/>
                <a:gd name="connsiteX5" fmla="*/ 9203 w 1959248"/>
                <a:gd name="connsiteY5" fmla="*/ 530331 h 592993"/>
                <a:gd name="connsiteX6" fmla="*/ 88848 w 1959248"/>
                <a:gd name="connsiteY6" fmla="*/ 10267 h 592993"/>
                <a:gd name="connsiteX7" fmla="*/ 1929515 w 1959248"/>
                <a:gd name="connsiteY7" fmla="*/ 584143 h 592993"/>
                <a:gd name="connsiteX8" fmla="*/ 1958187 w 1959248"/>
                <a:gd name="connsiteY8" fmla="*/ 584850 h 592993"/>
                <a:gd name="connsiteX9" fmla="*/ 1958187 w 1959248"/>
                <a:gd name="connsiteY9" fmla="*/ 588745 h 592993"/>
                <a:gd name="connsiteX10" fmla="*/ 1959249 w 1959248"/>
                <a:gd name="connsiteY10" fmla="*/ 585205 h 592993"/>
                <a:gd name="connsiteX11" fmla="*/ 82476 w 1959248"/>
                <a:gd name="connsiteY11" fmla="*/ 0 h 592993"/>
                <a:gd name="connsiteX12" fmla="*/ 0 w 1959248"/>
                <a:gd name="connsiteY12" fmla="*/ 538119 h 592993"/>
                <a:gd name="connsiteX13" fmla="*/ 1957833 w 1959248"/>
                <a:gd name="connsiteY13" fmla="*/ 592993 h 592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59248" h="592993">
                  <a:moveTo>
                    <a:pt x="1957833" y="592993"/>
                  </a:moveTo>
                  <a:lnTo>
                    <a:pt x="1959249" y="585205"/>
                  </a:lnTo>
                  <a:lnTo>
                    <a:pt x="1958187" y="588745"/>
                  </a:lnTo>
                  <a:lnTo>
                    <a:pt x="1956771" y="592639"/>
                  </a:lnTo>
                  <a:lnTo>
                    <a:pt x="1929515" y="584143"/>
                  </a:lnTo>
                  <a:lnTo>
                    <a:pt x="9203" y="530331"/>
                  </a:lnTo>
                  <a:lnTo>
                    <a:pt x="88848" y="10267"/>
                  </a:lnTo>
                  <a:lnTo>
                    <a:pt x="1929515" y="584143"/>
                  </a:lnTo>
                  <a:lnTo>
                    <a:pt x="1958187" y="584850"/>
                  </a:lnTo>
                  <a:lnTo>
                    <a:pt x="1958187" y="588745"/>
                  </a:lnTo>
                  <a:lnTo>
                    <a:pt x="1959249" y="585205"/>
                  </a:lnTo>
                  <a:lnTo>
                    <a:pt x="82476" y="0"/>
                  </a:lnTo>
                  <a:lnTo>
                    <a:pt x="0" y="538119"/>
                  </a:lnTo>
                  <a:lnTo>
                    <a:pt x="1957833" y="59299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7" name="Freihandform 409">
              <a:extLst>
                <a:ext uri="{FF2B5EF4-FFF2-40B4-BE49-F238E27FC236}">
                  <a16:creationId xmlns:a16="http://schemas.microsoft.com/office/drawing/2014/main" id="{27959164-5472-4E60-A3B7-6BE383A8DF28}"/>
                </a:ext>
              </a:extLst>
            </p:cNvPr>
            <p:cNvSpPr/>
            <p:nvPr/>
          </p:nvSpPr>
          <p:spPr>
            <a:xfrm>
              <a:off x="3259003" y="5667888"/>
              <a:ext cx="28671" cy="8496"/>
            </a:xfrm>
            <a:custGeom>
              <a:avLst/>
              <a:gdLst>
                <a:gd name="connsiteX0" fmla="*/ 28672 w 28671"/>
                <a:gd name="connsiteY0" fmla="*/ 4603 h 8496"/>
                <a:gd name="connsiteX1" fmla="*/ 28672 w 28671"/>
                <a:gd name="connsiteY1" fmla="*/ 708 h 8496"/>
                <a:gd name="connsiteX2" fmla="*/ 0 w 28671"/>
                <a:gd name="connsiteY2" fmla="*/ 0 h 8496"/>
                <a:gd name="connsiteX3" fmla="*/ 27256 w 28671"/>
                <a:gd name="connsiteY3" fmla="*/ 8497 h 8496"/>
                <a:gd name="connsiteX4" fmla="*/ 28672 w 28671"/>
                <a:gd name="connsiteY4" fmla="*/ 4603 h 8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71" h="8496">
                  <a:moveTo>
                    <a:pt x="28672" y="4603"/>
                  </a:moveTo>
                  <a:lnTo>
                    <a:pt x="28672" y="708"/>
                  </a:lnTo>
                  <a:lnTo>
                    <a:pt x="0" y="0"/>
                  </a:lnTo>
                  <a:lnTo>
                    <a:pt x="27256" y="8497"/>
                  </a:lnTo>
                  <a:lnTo>
                    <a:pt x="28672" y="460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8" name="Freihandform 410">
              <a:extLst>
                <a:ext uri="{FF2B5EF4-FFF2-40B4-BE49-F238E27FC236}">
                  <a16:creationId xmlns:a16="http://schemas.microsoft.com/office/drawing/2014/main" id="{6278DEC8-7801-4C97-9611-952AF3C01A45}"/>
                </a:ext>
              </a:extLst>
            </p:cNvPr>
            <p:cNvSpPr/>
            <p:nvPr/>
          </p:nvSpPr>
          <p:spPr>
            <a:xfrm>
              <a:off x="406324" y="4735738"/>
              <a:ext cx="1013429" cy="890020"/>
            </a:xfrm>
            <a:custGeom>
              <a:avLst/>
              <a:gdLst>
                <a:gd name="connsiteX0" fmla="*/ 930599 w 1013429"/>
                <a:gd name="connsiteY0" fmla="*/ 890021 h 890020"/>
                <a:gd name="connsiteX1" fmla="*/ 1013429 w 1013429"/>
                <a:gd name="connsiteY1" fmla="*/ 350486 h 890020"/>
                <a:gd name="connsiteX2" fmla="*/ 1010243 w 1013429"/>
                <a:gd name="connsiteY2" fmla="*/ 349424 h 890020"/>
                <a:gd name="connsiteX3" fmla="*/ 1009181 w 1013429"/>
                <a:gd name="connsiteY3" fmla="*/ 353318 h 890020"/>
                <a:gd name="connsiteX4" fmla="*/ 1007766 w 1013429"/>
                <a:gd name="connsiteY4" fmla="*/ 356858 h 890020"/>
                <a:gd name="connsiteX5" fmla="*/ 1004580 w 1013429"/>
                <a:gd name="connsiteY5" fmla="*/ 355796 h 890020"/>
                <a:gd name="connsiteX6" fmla="*/ 924935 w 1013429"/>
                <a:gd name="connsiteY6" fmla="*/ 873736 h 890020"/>
                <a:gd name="connsiteX7" fmla="*/ 19115 w 1013429"/>
                <a:gd name="connsiteY7" fmla="*/ 13453 h 890020"/>
                <a:gd name="connsiteX8" fmla="*/ 1004580 w 1013429"/>
                <a:gd name="connsiteY8" fmla="*/ 355796 h 890020"/>
                <a:gd name="connsiteX9" fmla="*/ 1004934 w 1013429"/>
                <a:gd name="connsiteY9" fmla="*/ 352610 h 890020"/>
                <a:gd name="connsiteX10" fmla="*/ 1009181 w 1013429"/>
                <a:gd name="connsiteY10" fmla="*/ 353318 h 890020"/>
                <a:gd name="connsiteX11" fmla="*/ 1010243 w 1013429"/>
                <a:gd name="connsiteY11" fmla="*/ 349424 h 890020"/>
                <a:gd name="connsiteX12" fmla="*/ 3894 w 1013429"/>
                <a:gd name="connsiteY12" fmla="*/ 0 h 890020"/>
                <a:gd name="connsiteX13" fmla="*/ 0 w 1013429"/>
                <a:gd name="connsiteY13" fmla="*/ 6373 h 890020"/>
                <a:gd name="connsiteX14" fmla="*/ 930599 w 1013429"/>
                <a:gd name="connsiteY14" fmla="*/ 890021 h 890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429" h="890020">
                  <a:moveTo>
                    <a:pt x="930599" y="890021"/>
                  </a:moveTo>
                  <a:lnTo>
                    <a:pt x="1013429" y="350486"/>
                  </a:lnTo>
                  <a:lnTo>
                    <a:pt x="1010243" y="349424"/>
                  </a:lnTo>
                  <a:lnTo>
                    <a:pt x="1009181" y="353318"/>
                  </a:lnTo>
                  <a:lnTo>
                    <a:pt x="1007766" y="356858"/>
                  </a:lnTo>
                  <a:lnTo>
                    <a:pt x="1004580" y="355796"/>
                  </a:lnTo>
                  <a:lnTo>
                    <a:pt x="924935" y="873736"/>
                  </a:lnTo>
                  <a:lnTo>
                    <a:pt x="19115" y="13453"/>
                  </a:lnTo>
                  <a:lnTo>
                    <a:pt x="1004580" y="355796"/>
                  </a:lnTo>
                  <a:lnTo>
                    <a:pt x="1004934" y="352610"/>
                  </a:lnTo>
                  <a:lnTo>
                    <a:pt x="1009181" y="353318"/>
                  </a:lnTo>
                  <a:lnTo>
                    <a:pt x="1010243" y="349424"/>
                  </a:lnTo>
                  <a:lnTo>
                    <a:pt x="3894" y="0"/>
                  </a:lnTo>
                  <a:lnTo>
                    <a:pt x="0" y="6373"/>
                  </a:lnTo>
                  <a:lnTo>
                    <a:pt x="930599" y="890021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19" name="Freihandform 411">
              <a:extLst>
                <a:ext uri="{FF2B5EF4-FFF2-40B4-BE49-F238E27FC236}">
                  <a16:creationId xmlns:a16="http://schemas.microsoft.com/office/drawing/2014/main" id="{09966C35-9EA2-44C6-89F6-B8F34E1BF8B5}"/>
                </a:ext>
              </a:extLst>
            </p:cNvPr>
            <p:cNvSpPr/>
            <p:nvPr/>
          </p:nvSpPr>
          <p:spPr>
            <a:xfrm>
              <a:off x="1410902" y="5088348"/>
              <a:ext cx="4601" cy="4248"/>
            </a:xfrm>
            <a:custGeom>
              <a:avLst/>
              <a:gdLst>
                <a:gd name="connsiteX0" fmla="*/ 3186 w 4601"/>
                <a:gd name="connsiteY0" fmla="*/ 4248 h 4248"/>
                <a:gd name="connsiteX1" fmla="*/ 4601 w 4601"/>
                <a:gd name="connsiteY1" fmla="*/ 708 h 4248"/>
                <a:gd name="connsiteX2" fmla="*/ 354 w 4601"/>
                <a:gd name="connsiteY2" fmla="*/ 0 h 4248"/>
                <a:gd name="connsiteX3" fmla="*/ 0 w 4601"/>
                <a:gd name="connsiteY3" fmla="*/ 3186 h 4248"/>
                <a:gd name="connsiteX4" fmla="*/ 3186 w 4601"/>
                <a:gd name="connsiteY4" fmla="*/ 4248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248">
                  <a:moveTo>
                    <a:pt x="3186" y="4248"/>
                  </a:moveTo>
                  <a:lnTo>
                    <a:pt x="4601" y="708"/>
                  </a:lnTo>
                  <a:lnTo>
                    <a:pt x="354" y="0"/>
                  </a:lnTo>
                  <a:lnTo>
                    <a:pt x="0" y="3186"/>
                  </a:lnTo>
                  <a:lnTo>
                    <a:pt x="3186" y="424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0" name="Freihandform 412">
              <a:extLst>
                <a:ext uri="{FF2B5EF4-FFF2-40B4-BE49-F238E27FC236}">
                  <a16:creationId xmlns:a16="http://schemas.microsoft.com/office/drawing/2014/main" id="{2761F9BF-153E-48F2-86CC-7E98F7CD17F9}"/>
                </a:ext>
              </a:extLst>
            </p:cNvPr>
            <p:cNvSpPr/>
            <p:nvPr/>
          </p:nvSpPr>
          <p:spPr>
            <a:xfrm>
              <a:off x="1317453" y="4372862"/>
              <a:ext cx="101944" cy="717256"/>
            </a:xfrm>
            <a:custGeom>
              <a:avLst/>
              <a:gdLst>
                <a:gd name="connsiteX0" fmla="*/ 94157 w 101944"/>
                <a:gd name="connsiteY0" fmla="*/ 717257 h 717256"/>
                <a:gd name="connsiteX1" fmla="*/ 101945 w 101944"/>
                <a:gd name="connsiteY1" fmla="*/ 716194 h 717256"/>
                <a:gd name="connsiteX2" fmla="*/ 98051 w 101944"/>
                <a:gd name="connsiteY2" fmla="*/ 716194 h 717256"/>
                <a:gd name="connsiteX3" fmla="*/ 93803 w 101944"/>
                <a:gd name="connsiteY3" fmla="*/ 716194 h 717256"/>
                <a:gd name="connsiteX4" fmla="*/ 93803 w 101944"/>
                <a:gd name="connsiteY4" fmla="*/ 688226 h 717256"/>
                <a:gd name="connsiteX5" fmla="*/ 8142 w 101944"/>
                <a:gd name="connsiteY5" fmla="*/ 400757 h 717256"/>
                <a:gd name="connsiteX6" fmla="*/ 93095 w 101944"/>
                <a:gd name="connsiteY6" fmla="*/ 35049 h 717256"/>
                <a:gd name="connsiteX7" fmla="*/ 93803 w 101944"/>
                <a:gd name="connsiteY7" fmla="*/ 688226 h 717256"/>
                <a:gd name="connsiteX8" fmla="*/ 101945 w 101944"/>
                <a:gd name="connsiteY8" fmla="*/ 714778 h 717256"/>
                <a:gd name="connsiteX9" fmla="*/ 98051 w 101944"/>
                <a:gd name="connsiteY9" fmla="*/ 716194 h 717256"/>
                <a:gd name="connsiteX10" fmla="*/ 101945 w 101944"/>
                <a:gd name="connsiteY10" fmla="*/ 716194 h 717256"/>
                <a:gd name="connsiteX11" fmla="*/ 101237 w 101944"/>
                <a:gd name="connsiteY11" fmla="*/ 708 h 717256"/>
                <a:gd name="connsiteX12" fmla="*/ 93095 w 101944"/>
                <a:gd name="connsiteY12" fmla="*/ 0 h 717256"/>
                <a:gd name="connsiteX13" fmla="*/ 0 w 101944"/>
                <a:gd name="connsiteY13" fmla="*/ 401111 h 717256"/>
                <a:gd name="connsiteX14" fmla="*/ 94157 w 101944"/>
                <a:gd name="connsiteY14" fmla="*/ 717257 h 71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944" h="717256">
                  <a:moveTo>
                    <a:pt x="94157" y="717257"/>
                  </a:moveTo>
                  <a:lnTo>
                    <a:pt x="101945" y="716194"/>
                  </a:lnTo>
                  <a:lnTo>
                    <a:pt x="98051" y="716194"/>
                  </a:lnTo>
                  <a:lnTo>
                    <a:pt x="93803" y="716194"/>
                  </a:lnTo>
                  <a:lnTo>
                    <a:pt x="93803" y="688226"/>
                  </a:lnTo>
                  <a:lnTo>
                    <a:pt x="8142" y="400757"/>
                  </a:lnTo>
                  <a:lnTo>
                    <a:pt x="93095" y="35049"/>
                  </a:lnTo>
                  <a:lnTo>
                    <a:pt x="93803" y="688226"/>
                  </a:lnTo>
                  <a:lnTo>
                    <a:pt x="101945" y="714778"/>
                  </a:lnTo>
                  <a:lnTo>
                    <a:pt x="98051" y="716194"/>
                  </a:lnTo>
                  <a:lnTo>
                    <a:pt x="101945" y="716194"/>
                  </a:lnTo>
                  <a:lnTo>
                    <a:pt x="101237" y="708"/>
                  </a:lnTo>
                  <a:lnTo>
                    <a:pt x="93095" y="0"/>
                  </a:lnTo>
                  <a:lnTo>
                    <a:pt x="0" y="401111"/>
                  </a:lnTo>
                  <a:lnTo>
                    <a:pt x="94157" y="717257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1" name="Freihandform 413">
              <a:extLst>
                <a:ext uri="{FF2B5EF4-FFF2-40B4-BE49-F238E27FC236}">
                  <a16:creationId xmlns:a16="http://schemas.microsoft.com/office/drawing/2014/main" id="{AFFCB480-8581-4590-BABA-4DC66A123E00}"/>
                </a:ext>
              </a:extLst>
            </p:cNvPr>
            <p:cNvSpPr/>
            <p:nvPr/>
          </p:nvSpPr>
          <p:spPr>
            <a:xfrm>
              <a:off x="1411257" y="5061088"/>
              <a:ext cx="8141" cy="27968"/>
            </a:xfrm>
            <a:custGeom>
              <a:avLst/>
              <a:gdLst>
                <a:gd name="connsiteX0" fmla="*/ 4248 w 8141"/>
                <a:gd name="connsiteY0" fmla="*/ 27968 h 27968"/>
                <a:gd name="connsiteX1" fmla="*/ 8142 w 8141"/>
                <a:gd name="connsiteY1" fmla="*/ 26552 h 27968"/>
                <a:gd name="connsiteX2" fmla="*/ 0 w 8141"/>
                <a:gd name="connsiteY2" fmla="*/ 0 h 27968"/>
                <a:gd name="connsiteX3" fmla="*/ 0 w 8141"/>
                <a:gd name="connsiteY3" fmla="*/ 27968 h 27968"/>
                <a:gd name="connsiteX4" fmla="*/ 4248 w 8141"/>
                <a:gd name="connsiteY4" fmla="*/ 27968 h 2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41" h="27968">
                  <a:moveTo>
                    <a:pt x="4248" y="27968"/>
                  </a:moveTo>
                  <a:lnTo>
                    <a:pt x="8142" y="26552"/>
                  </a:lnTo>
                  <a:lnTo>
                    <a:pt x="0" y="0"/>
                  </a:lnTo>
                  <a:lnTo>
                    <a:pt x="0" y="27968"/>
                  </a:lnTo>
                  <a:lnTo>
                    <a:pt x="4248" y="2796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2" name="Freihandform 414">
              <a:extLst>
                <a:ext uri="{FF2B5EF4-FFF2-40B4-BE49-F238E27FC236}">
                  <a16:creationId xmlns:a16="http://schemas.microsoft.com/office/drawing/2014/main" id="{497DF763-8ACC-4EB3-BE81-59FDD602CFA5}"/>
                </a:ext>
              </a:extLst>
            </p:cNvPr>
            <p:cNvSpPr/>
            <p:nvPr/>
          </p:nvSpPr>
          <p:spPr>
            <a:xfrm>
              <a:off x="407740" y="4735384"/>
              <a:ext cx="1013782" cy="360044"/>
            </a:xfrm>
            <a:custGeom>
              <a:avLst/>
              <a:gdLst>
                <a:gd name="connsiteX0" fmla="*/ 1013783 w 1013782"/>
                <a:gd name="connsiteY0" fmla="*/ 360045 h 360044"/>
                <a:gd name="connsiteX1" fmla="*/ 916794 w 1013782"/>
                <a:gd name="connsiteY1" fmla="*/ 34341 h 360044"/>
                <a:gd name="connsiteX2" fmla="*/ 913962 w 1013782"/>
                <a:gd name="connsiteY2" fmla="*/ 34341 h 360044"/>
                <a:gd name="connsiteX3" fmla="*/ 913962 w 1013782"/>
                <a:gd name="connsiteY3" fmla="*/ 38235 h 360044"/>
                <a:gd name="connsiteX4" fmla="*/ 913254 w 1013782"/>
                <a:gd name="connsiteY4" fmla="*/ 42129 h 360044"/>
                <a:gd name="connsiteX5" fmla="*/ 910777 w 1013782"/>
                <a:gd name="connsiteY5" fmla="*/ 42129 h 360044"/>
                <a:gd name="connsiteX6" fmla="*/ 1001748 w 1013782"/>
                <a:gd name="connsiteY6" fmla="*/ 347299 h 360044"/>
                <a:gd name="connsiteX7" fmla="*/ 27964 w 1013782"/>
                <a:gd name="connsiteY7" fmla="*/ 8851 h 360044"/>
                <a:gd name="connsiteX8" fmla="*/ 910777 w 1013782"/>
                <a:gd name="connsiteY8" fmla="*/ 42129 h 360044"/>
                <a:gd name="connsiteX9" fmla="*/ 909714 w 1013782"/>
                <a:gd name="connsiteY9" fmla="*/ 39651 h 360044"/>
                <a:gd name="connsiteX10" fmla="*/ 913962 w 1013782"/>
                <a:gd name="connsiteY10" fmla="*/ 38235 h 360044"/>
                <a:gd name="connsiteX11" fmla="*/ 913962 w 1013782"/>
                <a:gd name="connsiteY11" fmla="*/ 34341 h 360044"/>
                <a:gd name="connsiteX12" fmla="*/ 1416 w 1013782"/>
                <a:gd name="connsiteY12" fmla="*/ 0 h 360044"/>
                <a:gd name="connsiteX13" fmla="*/ 0 w 1013782"/>
                <a:gd name="connsiteY13" fmla="*/ 7789 h 360044"/>
                <a:gd name="connsiteX14" fmla="*/ 1013783 w 1013782"/>
                <a:gd name="connsiteY14" fmla="*/ 360045 h 36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782" h="360044">
                  <a:moveTo>
                    <a:pt x="1013783" y="360045"/>
                  </a:moveTo>
                  <a:lnTo>
                    <a:pt x="916794" y="34341"/>
                  </a:lnTo>
                  <a:lnTo>
                    <a:pt x="913962" y="34341"/>
                  </a:lnTo>
                  <a:lnTo>
                    <a:pt x="913962" y="38235"/>
                  </a:lnTo>
                  <a:lnTo>
                    <a:pt x="913254" y="42129"/>
                  </a:lnTo>
                  <a:lnTo>
                    <a:pt x="910777" y="42129"/>
                  </a:lnTo>
                  <a:lnTo>
                    <a:pt x="1001748" y="347299"/>
                  </a:lnTo>
                  <a:lnTo>
                    <a:pt x="27964" y="8851"/>
                  </a:lnTo>
                  <a:lnTo>
                    <a:pt x="910777" y="42129"/>
                  </a:lnTo>
                  <a:lnTo>
                    <a:pt x="909714" y="39651"/>
                  </a:lnTo>
                  <a:lnTo>
                    <a:pt x="913962" y="38235"/>
                  </a:lnTo>
                  <a:lnTo>
                    <a:pt x="913962" y="34341"/>
                  </a:lnTo>
                  <a:lnTo>
                    <a:pt x="1416" y="0"/>
                  </a:lnTo>
                  <a:lnTo>
                    <a:pt x="0" y="7789"/>
                  </a:lnTo>
                  <a:lnTo>
                    <a:pt x="1013783" y="360045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3" name="Freihandform 415">
              <a:extLst>
                <a:ext uri="{FF2B5EF4-FFF2-40B4-BE49-F238E27FC236}">
                  <a16:creationId xmlns:a16="http://schemas.microsoft.com/office/drawing/2014/main" id="{5F29C0CA-8471-4140-8A0A-C97EA058EEDC}"/>
                </a:ext>
              </a:extLst>
            </p:cNvPr>
            <p:cNvSpPr/>
            <p:nvPr/>
          </p:nvSpPr>
          <p:spPr>
            <a:xfrm>
              <a:off x="1317454" y="4773619"/>
              <a:ext cx="4247" cy="3894"/>
            </a:xfrm>
            <a:custGeom>
              <a:avLst/>
              <a:gdLst>
                <a:gd name="connsiteX0" fmla="*/ 3540 w 4247"/>
                <a:gd name="connsiteY0" fmla="*/ 3894 h 3894"/>
                <a:gd name="connsiteX1" fmla="*/ 4248 w 4247"/>
                <a:gd name="connsiteY1" fmla="*/ 0 h 3894"/>
                <a:gd name="connsiteX2" fmla="*/ 0 w 4247"/>
                <a:gd name="connsiteY2" fmla="*/ 1416 h 3894"/>
                <a:gd name="connsiteX3" fmla="*/ 1062 w 4247"/>
                <a:gd name="connsiteY3" fmla="*/ 3894 h 3894"/>
                <a:gd name="connsiteX4" fmla="*/ 3540 w 4247"/>
                <a:gd name="connsiteY4" fmla="*/ 3894 h 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3894">
                  <a:moveTo>
                    <a:pt x="3540" y="3894"/>
                  </a:moveTo>
                  <a:lnTo>
                    <a:pt x="4248" y="0"/>
                  </a:lnTo>
                  <a:lnTo>
                    <a:pt x="0" y="1416"/>
                  </a:lnTo>
                  <a:lnTo>
                    <a:pt x="1062" y="3894"/>
                  </a:lnTo>
                  <a:lnTo>
                    <a:pt x="3540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4" name="Freihandform 416">
              <a:extLst>
                <a:ext uri="{FF2B5EF4-FFF2-40B4-BE49-F238E27FC236}">
                  <a16:creationId xmlns:a16="http://schemas.microsoft.com/office/drawing/2014/main" id="{1C5E365A-B403-432D-B711-BA15CF2C007F}"/>
                </a:ext>
              </a:extLst>
            </p:cNvPr>
            <p:cNvSpPr/>
            <p:nvPr/>
          </p:nvSpPr>
          <p:spPr>
            <a:xfrm>
              <a:off x="1409486" y="4372862"/>
              <a:ext cx="5309" cy="5310"/>
            </a:xfrm>
            <a:custGeom>
              <a:avLst/>
              <a:gdLst>
                <a:gd name="connsiteX0" fmla="*/ 5310 w 5309"/>
                <a:gd name="connsiteY0" fmla="*/ 4603 h 5310"/>
                <a:gd name="connsiteX1" fmla="*/ 4956 w 5309"/>
                <a:gd name="connsiteY1" fmla="*/ 708 h 5310"/>
                <a:gd name="connsiteX2" fmla="*/ 1062 w 5309"/>
                <a:gd name="connsiteY2" fmla="*/ 0 h 5310"/>
                <a:gd name="connsiteX3" fmla="*/ 0 w 5309"/>
                <a:gd name="connsiteY3" fmla="*/ 5310 h 5310"/>
                <a:gd name="connsiteX4" fmla="*/ 5310 w 5309"/>
                <a:gd name="connsiteY4" fmla="*/ 4603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5310" y="4603"/>
                  </a:moveTo>
                  <a:lnTo>
                    <a:pt x="4956" y="708"/>
                  </a:lnTo>
                  <a:lnTo>
                    <a:pt x="1062" y="0"/>
                  </a:lnTo>
                  <a:lnTo>
                    <a:pt x="0" y="5310"/>
                  </a:lnTo>
                  <a:lnTo>
                    <a:pt x="5310" y="460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5" name="Freihandform 417">
              <a:extLst>
                <a:ext uri="{FF2B5EF4-FFF2-40B4-BE49-F238E27FC236}">
                  <a16:creationId xmlns:a16="http://schemas.microsoft.com/office/drawing/2014/main" id="{46067140-8229-4CF9-95F8-4343282799CD}"/>
                </a:ext>
              </a:extLst>
            </p:cNvPr>
            <p:cNvSpPr/>
            <p:nvPr/>
          </p:nvSpPr>
          <p:spPr>
            <a:xfrm>
              <a:off x="1020823" y="4368968"/>
              <a:ext cx="398929" cy="413502"/>
            </a:xfrm>
            <a:custGeom>
              <a:avLst/>
              <a:gdLst>
                <a:gd name="connsiteX0" fmla="*/ 398929 w 398929"/>
                <a:gd name="connsiteY0" fmla="*/ 0 h 413502"/>
                <a:gd name="connsiteX1" fmla="*/ 393266 w 398929"/>
                <a:gd name="connsiteY1" fmla="*/ 708 h 413502"/>
                <a:gd name="connsiteX2" fmla="*/ 393620 w 398929"/>
                <a:gd name="connsiteY2" fmla="*/ 4603 h 413502"/>
                <a:gd name="connsiteX3" fmla="*/ 393974 w 398929"/>
                <a:gd name="connsiteY3" fmla="*/ 8497 h 413502"/>
                <a:gd name="connsiteX4" fmla="*/ 388664 w 398929"/>
                <a:gd name="connsiteY4" fmla="*/ 9205 h 413502"/>
                <a:gd name="connsiteX5" fmla="*/ 298754 w 398929"/>
                <a:gd name="connsiteY5" fmla="*/ 395801 h 413502"/>
                <a:gd name="connsiteX6" fmla="*/ 15575 w 398929"/>
                <a:gd name="connsiteY6" fmla="*/ 48502 h 413502"/>
                <a:gd name="connsiteX7" fmla="*/ 388664 w 398929"/>
                <a:gd name="connsiteY7" fmla="*/ 9205 h 413502"/>
                <a:gd name="connsiteX8" fmla="*/ 389726 w 398929"/>
                <a:gd name="connsiteY8" fmla="*/ 3894 h 413502"/>
                <a:gd name="connsiteX9" fmla="*/ 393620 w 398929"/>
                <a:gd name="connsiteY9" fmla="*/ 4603 h 413502"/>
                <a:gd name="connsiteX10" fmla="*/ 393266 w 398929"/>
                <a:gd name="connsiteY10" fmla="*/ 708 h 413502"/>
                <a:gd name="connsiteX11" fmla="*/ 0 w 398929"/>
                <a:gd name="connsiteY11" fmla="*/ 41775 h 413502"/>
                <a:gd name="connsiteX12" fmla="*/ 302648 w 398929"/>
                <a:gd name="connsiteY12" fmla="*/ 413502 h 413502"/>
                <a:gd name="connsiteX13" fmla="*/ 398929 w 398929"/>
                <a:gd name="connsiteY13" fmla="*/ 0 h 413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8929" h="413502">
                  <a:moveTo>
                    <a:pt x="398929" y="0"/>
                  </a:moveTo>
                  <a:lnTo>
                    <a:pt x="393266" y="708"/>
                  </a:lnTo>
                  <a:lnTo>
                    <a:pt x="393620" y="4603"/>
                  </a:lnTo>
                  <a:lnTo>
                    <a:pt x="393974" y="8497"/>
                  </a:lnTo>
                  <a:lnTo>
                    <a:pt x="388664" y="9205"/>
                  </a:lnTo>
                  <a:lnTo>
                    <a:pt x="298754" y="395801"/>
                  </a:lnTo>
                  <a:lnTo>
                    <a:pt x="15575" y="48502"/>
                  </a:lnTo>
                  <a:lnTo>
                    <a:pt x="388664" y="9205"/>
                  </a:lnTo>
                  <a:lnTo>
                    <a:pt x="389726" y="3894"/>
                  </a:lnTo>
                  <a:lnTo>
                    <a:pt x="393620" y="4603"/>
                  </a:lnTo>
                  <a:lnTo>
                    <a:pt x="393266" y="708"/>
                  </a:lnTo>
                  <a:lnTo>
                    <a:pt x="0" y="41775"/>
                  </a:lnTo>
                  <a:lnTo>
                    <a:pt x="302648" y="413502"/>
                  </a:lnTo>
                  <a:lnTo>
                    <a:pt x="398929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6" name="Freihandform 418">
              <a:extLst>
                <a:ext uri="{FF2B5EF4-FFF2-40B4-BE49-F238E27FC236}">
                  <a16:creationId xmlns:a16="http://schemas.microsoft.com/office/drawing/2014/main" id="{85241265-B3DE-481F-B162-4534050CF71A}"/>
                </a:ext>
              </a:extLst>
            </p:cNvPr>
            <p:cNvSpPr/>
            <p:nvPr/>
          </p:nvSpPr>
          <p:spPr>
            <a:xfrm>
              <a:off x="1025425" y="4413929"/>
              <a:ext cx="4955" cy="5310"/>
            </a:xfrm>
            <a:custGeom>
              <a:avLst/>
              <a:gdLst>
                <a:gd name="connsiteX0" fmla="*/ 4956 w 4955"/>
                <a:gd name="connsiteY0" fmla="*/ 3540 h 5310"/>
                <a:gd name="connsiteX1" fmla="*/ 3186 w 4955"/>
                <a:gd name="connsiteY1" fmla="*/ 0 h 5310"/>
                <a:gd name="connsiteX2" fmla="*/ 0 w 4955"/>
                <a:gd name="connsiteY2" fmla="*/ 2832 h 5310"/>
                <a:gd name="connsiteX3" fmla="*/ 2124 w 4955"/>
                <a:gd name="connsiteY3" fmla="*/ 5310 h 5310"/>
                <a:gd name="connsiteX4" fmla="*/ 4956 w 4955"/>
                <a:gd name="connsiteY4" fmla="*/ 3540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5" h="5310">
                  <a:moveTo>
                    <a:pt x="4956" y="3540"/>
                  </a:moveTo>
                  <a:lnTo>
                    <a:pt x="3186" y="0"/>
                  </a:lnTo>
                  <a:lnTo>
                    <a:pt x="0" y="2832"/>
                  </a:lnTo>
                  <a:lnTo>
                    <a:pt x="2124" y="5310"/>
                  </a:lnTo>
                  <a:lnTo>
                    <a:pt x="4956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7" name="Freihandform 419">
              <a:extLst>
                <a:ext uri="{FF2B5EF4-FFF2-40B4-BE49-F238E27FC236}">
                  <a16:creationId xmlns:a16="http://schemas.microsoft.com/office/drawing/2014/main" id="{703B9F75-866E-42FB-B2CD-79A748256286}"/>
                </a:ext>
              </a:extLst>
            </p:cNvPr>
            <p:cNvSpPr/>
            <p:nvPr/>
          </p:nvSpPr>
          <p:spPr>
            <a:xfrm>
              <a:off x="393935" y="4409327"/>
              <a:ext cx="936262" cy="368540"/>
            </a:xfrm>
            <a:custGeom>
              <a:avLst/>
              <a:gdLst>
                <a:gd name="connsiteX0" fmla="*/ 635738 w 936262"/>
                <a:gd name="connsiteY0" fmla="*/ 0 h 368540"/>
                <a:gd name="connsiteX1" fmla="*/ 632907 w 936262"/>
                <a:gd name="connsiteY1" fmla="*/ 1416 h 368540"/>
                <a:gd name="connsiteX2" fmla="*/ 634676 w 936262"/>
                <a:gd name="connsiteY2" fmla="*/ 4603 h 368540"/>
                <a:gd name="connsiteX3" fmla="*/ 636446 w 936262"/>
                <a:gd name="connsiteY3" fmla="*/ 8143 h 368540"/>
                <a:gd name="connsiteX4" fmla="*/ 633614 w 936262"/>
                <a:gd name="connsiteY4" fmla="*/ 9913 h 368540"/>
                <a:gd name="connsiteX5" fmla="*/ 918918 w 936262"/>
                <a:gd name="connsiteY5" fmla="*/ 360044 h 368540"/>
                <a:gd name="connsiteX6" fmla="*/ 30088 w 936262"/>
                <a:gd name="connsiteY6" fmla="*/ 326766 h 368540"/>
                <a:gd name="connsiteX7" fmla="*/ 633614 w 936262"/>
                <a:gd name="connsiteY7" fmla="*/ 9913 h 368540"/>
                <a:gd name="connsiteX8" fmla="*/ 631491 w 936262"/>
                <a:gd name="connsiteY8" fmla="*/ 7434 h 368540"/>
                <a:gd name="connsiteX9" fmla="*/ 634676 w 936262"/>
                <a:gd name="connsiteY9" fmla="*/ 4603 h 368540"/>
                <a:gd name="connsiteX10" fmla="*/ 632907 w 936262"/>
                <a:gd name="connsiteY10" fmla="*/ 1416 h 368540"/>
                <a:gd name="connsiteX11" fmla="*/ 0 w 936262"/>
                <a:gd name="connsiteY11" fmla="*/ 333492 h 368540"/>
                <a:gd name="connsiteX12" fmla="*/ 936262 w 936262"/>
                <a:gd name="connsiteY12" fmla="*/ 368541 h 368540"/>
                <a:gd name="connsiteX13" fmla="*/ 635738 w 936262"/>
                <a:gd name="connsiteY13" fmla="*/ 0 h 36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6262" h="368540">
                  <a:moveTo>
                    <a:pt x="635738" y="0"/>
                  </a:moveTo>
                  <a:lnTo>
                    <a:pt x="632907" y="1416"/>
                  </a:lnTo>
                  <a:lnTo>
                    <a:pt x="634676" y="4603"/>
                  </a:lnTo>
                  <a:lnTo>
                    <a:pt x="636446" y="8143"/>
                  </a:lnTo>
                  <a:lnTo>
                    <a:pt x="633614" y="9913"/>
                  </a:lnTo>
                  <a:lnTo>
                    <a:pt x="918918" y="360044"/>
                  </a:lnTo>
                  <a:lnTo>
                    <a:pt x="30088" y="326766"/>
                  </a:lnTo>
                  <a:lnTo>
                    <a:pt x="633614" y="9913"/>
                  </a:lnTo>
                  <a:lnTo>
                    <a:pt x="631491" y="7434"/>
                  </a:lnTo>
                  <a:lnTo>
                    <a:pt x="634676" y="4603"/>
                  </a:lnTo>
                  <a:lnTo>
                    <a:pt x="632907" y="1416"/>
                  </a:lnTo>
                  <a:lnTo>
                    <a:pt x="0" y="333492"/>
                  </a:lnTo>
                  <a:lnTo>
                    <a:pt x="936262" y="368541"/>
                  </a:lnTo>
                  <a:lnTo>
                    <a:pt x="635738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8" name="Freihandform 420">
              <a:extLst>
                <a:ext uri="{FF2B5EF4-FFF2-40B4-BE49-F238E27FC236}">
                  <a16:creationId xmlns:a16="http://schemas.microsoft.com/office/drawing/2014/main" id="{C8A9AAC9-16CE-44E5-8769-BCA87ADB1AEA}"/>
                </a:ext>
              </a:extLst>
            </p:cNvPr>
            <p:cNvSpPr/>
            <p:nvPr/>
          </p:nvSpPr>
          <p:spPr>
            <a:xfrm>
              <a:off x="1409132" y="4369676"/>
              <a:ext cx="5309" cy="5310"/>
            </a:xfrm>
            <a:custGeom>
              <a:avLst/>
              <a:gdLst>
                <a:gd name="connsiteX0" fmla="*/ 5310 w 5309"/>
                <a:gd name="connsiteY0" fmla="*/ 3894 h 5310"/>
                <a:gd name="connsiteX1" fmla="*/ 4956 w 5309"/>
                <a:gd name="connsiteY1" fmla="*/ 0 h 5310"/>
                <a:gd name="connsiteX2" fmla="*/ 0 w 5309"/>
                <a:gd name="connsiteY2" fmla="*/ 354 h 5310"/>
                <a:gd name="connsiteX3" fmla="*/ 1770 w 5309"/>
                <a:gd name="connsiteY3" fmla="*/ 5310 h 5310"/>
                <a:gd name="connsiteX4" fmla="*/ 5310 w 5309"/>
                <a:gd name="connsiteY4" fmla="*/ 3894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5310" y="3894"/>
                  </a:moveTo>
                  <a:lnTo>
                    <a:pt x="4956" y="0"/>
                  </a:lnTo>
                  <a:lnTo>
                    <a:pt x="0" y="354"/>
                  </a:lnTo>
                  <a:lnTo>
                    <a:pt x="1770" y="5310"/>
                  </a:lnTo>
                  <a:lnTo>
                    <a:pt x="5310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29" name="Freihandform 421">
              <a:extLst>
                <a:ext uri="{FF2B5EF4-FFF2-40B4-BE49-F238E27FC236}">
                  <a16:creationId xmlns:a16="http://schemas.microsoft.com/office/drawing/2014/main" id="{B046DED4-66EA-427A-9B01-2A5E3E69AC30}"/>
                </a:ext>
              </a:extLst>
            </p:cNvPr>
            <p:cNvSpPr/>
            <p:nvPr/>
          </p:nvSpPr>
          <p:spPr>
            <a:xfrm>
              <a:off x="1024363" y="3368491"/>
              <a:ext cx="395743" cy="1050040"/>
            </a:xfrm>
            <a:custGeom>
              <a:avLst/>
              <a:gdLst>
                <a:gd name="connsiteX0" fmla="*/ 395743 w 395743"/>
                <a:gd name="connsiteY0" fmla="*/ 1008620 h 1050040"/>
                <a:gd name="connsiteX1" fmla="*/ 393974 w 395743"/>
                <a:gd name="connsiteY1" fmla="*/ 1003663 h 1050040"/>
                <a:gd name="connsiteX2" fmla="*/ 390080 w 395743"/>
                <a:gd name="connsiteY2" fmla="*/ 1005079 h 1050040"/>
                <a:gd name="connsiteX3" fmla="*/ 386540 w 395743"/>
                <a:gd name="connsiteY3" fmla="*/ 1006496 h 1050040"/>
                <a:gd name="connsiteX4" fmla="*/ 384770 w 395743"/>
                <a:gd name="connsiteY4" fmla="*/ 1001539 h 1050040"/>
                <a:gd name="connsiteX5" fmla="*/ 8495 w 395743"/>
                <a:gd name="connsiteY5" fmla="*/ 1041190 h 1050040"/>
                <a:gd name="connsiteX6" fmla="*/ 41415 w 395743"/>
                <a:gd name="connsiteY6" fmla="*/ 23012 h 1050040"/>
                <a:gd name="connsiteX7" fmla="*/ 384770 w 395743"/>
                <a:gd name="connsiteY7" fmla="*/ 1001539 h 1050040"/>
                <a:gd name="connsiteX8" fmla="*/ 389726 w 395743"/>
                <a:gd name="connsiteY8" fmla="*/ 1001185 h 1050040"/>
                <a:gd name="connsiteX9" fmla="*/ 390080 w 395743"/>
                <a:gd name="connsiteY9" fmla="*/ 1005079 h 1050040"/>
                <a:gd name="connsiteX10" fmla="*/ 393974 w 395743"/>
                <a:gd name="connsiteY10" fmla="*/ 1003663 h 1050040"/>
                <a:gd name="connsiteX11" fmla="*/ 41769 w 395743"/>
                <a:gd name="connsiteY11" fmla="*/ 0 h 1050040"/>
                <a:gd name="connsiteX12" fmla="*/ 34336 w 395743"/>
                <a:gd name="connsiteY12" fmla="*/ 1062 h 1050040"/>
                <a:gd name="connsiteX13" fmla="*/ 0 w 395743"/>
                <a:gd name="connsiteY13" fmla="*/ 1050040 h 1050040"/>
                <a:gd name="connsiteX14" fmla="*/ 395743 w 395743"/>
                <a:gd name="connsiteY14" fmla="*/ 1008620 h 105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5743" h="1050040">
                  <a:moveTo>
                    <a:pt x="395743" y="1008620"/>
                  </a:moveTo>
                  <a:lnTo>
                    <a:pt x="393974" y="1003663"/>
                  </a:lnTo>
                  <a:lnTo>
                    <a:pt x="390080" y="1005079"/>
                  </a:lnTo>
                  <a:lnTo>
                    <a:pt x="386540" y="1006496"/>
                  </a:lnTo>
                  <a:lnTo>
                    <a:pt x="384770" y="1001539"/>
                  </a:lnTo>
                  <a:lnTo>
                    <a:pt x="8495" y="1041190"/>
                  </a:lnTo>
                  <a:lnTo>
                    <a:pt x="41415" y="23012"/>
                  </a:lnTo>
                  <a:lnTo>
                    <a:pt x="384770" y="1001539"/>
                  </a:lnTo>
                  <a:lnTo>
                    <a:pt x="389726" y="1001185"/>
                  </a:lnTo>
                  <a:lnTo>
                    <a:pt x="390080" y="1005079"/>
                  </a:lnTo>
                  <a:lnTo>
                    <a:pt x="393974" y="1003663"/>
                  </a:lnTo>
                  <a:lnTo>
                    <a:pt x="41769" y="0"/>
                  </a:lnTo>
                  <a:lnTo>
                    <a:pt x="34336" y="1062"/>
                  </a:lnTo>
                  <a:lnTo>
                    <a:pt x="0" y="1050040"/>
                  </a:lnTo>
                  <a:lnTo>
                    <a:pt x="395743" y="100862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0" name="Freihandform 422">
              <a:extLst>
                <a:ext uri="{FF2B5EF4-FFF2-40B4-BE49-F238E27FC236}">
                  <a16:creationId xmlns:a16="http://schemas.microsoft.com/office/drawing/2014/main" id="{0858882C-F7B8-430D-9294-AB3646CB2A6B}"/>
                </a:ext>
              </a:extLst>
            </p:cNvPr>
            <p:cNvSpPr/>
            <p:nvPr/>
          </p:nvSpPr>
          <p:spPr>
            <a:xfrm>
              <a:off x="1058345" y="3369554"/>
              <a:ext cx="4247" cy="4248"/>
            </a:xfrm>
            <a:custGeom>
              <a:avLst/>
              <a:gdLst>
                <a:gd name="connsiteX0" fmla="*/ 3186 w 4247"/>
                <a:gd name="connsiteY0" fmla="*/ 4248 h 4248"/>
                <a:gd name="connsiteX1" fmla="*/ 4248 w 4247"/>
                <a:gd name="connsiteY1" fmla="*/ 354 h 4248"/>
                <a:gd name="connsiteX2" fmla="*/ 354 w 4247"/>
                <a:gd name="connsiteY2" fmla="*/ 0 h 4248"/>
                <a:gd name="connsiteX3" fmla="*/ 0 w 4247"/>
                <a:gd name="connsiteY3" fmla="*/ 3540 h 4248"/>
                <a:gd name="connsiteX4" fmla="*/ 3186 w 4247"/>
                <a:gd name="connsiteY4" fmla="*/ 4248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248">
                  <a:moveTo>
                    <a:pt x="3186" y="4248"/>
                  </a:moveTo>
                  <a:lnTo>
                    <a:pt x="4248" y="354"/>
                  </a:lnTo>
                  <a:lnTo>
                    <a:pt x="354" y="0"/>
                  </a:lnTo>
                  <a:lnTo>
                    <a:pt x="0" y="3540"/>
                  </a:lnTo>
                  <a:lnTo>
                    <a:pt x="3186" y="424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1" name="Freihandform 423">
              <a:extLst>
                <a:ext uri="{FF2B5EF4-FFF2-40B4-BE49-F238E27FC236}">
                  <a16:creationId xmlns:a16="http://schemas.microsoft.com/office/drawing/2014/main" id="{E01295E8-4592-4D59-A217-9D9CA290F1D4}"/>
                </a:ext>
              </a:extLst>
            </p:cNvPr>
            <p:cNvSpPr/>
            <p:nvPr/>
          </p:nvSpPr>
          <p:spPr>
            <a:xfrm>
              <a:off x="859057" y="3320344"/>
              <a:ext cx="207783" cy="1094293"/>
            </a:xfrm>
            <a:custGeom>
              <a:avLst/>
              <a:gdLst>
                <a:gd name="connsiteX0" fmla="*/ 173447 w 207783"/>
                <a:gd name="connsiteY0" fmla="*/ 1093940 h 1094293"/>
                <a:gd name="connsiteX1" fmla="*/ 207783 w 207783"/>
                <a:gd name="connsiteY1" fmla="*/ 46377 h 1094293"/>
                <a:gd name="connsiteX2" fmla="*/ 204243 w 207783"/>
                <a:gd name="connsiteY2" fmla="*/ 45669 h 1094293"/>
                <a:gd name="connsiteX3" fmla="*/ 203535 w 207783"/>
                <a:gd name="connsiteY3" fmla="*/ 49564 h 1094293"/>
                <a:gd name="connsiteX4" fmla="*/ 202473 w 207783"/>
                <a:gd name="connsiteY4" fmla="*/ 53458 h 1094293"/>
                <a:gd name="connsiteX5" fmla="*/ 199288 w 207783"/>
                <a:gd name="connsiteY5" fmla="*/ 52750 h 1094293"/>
                <a:gd name="connsiteX6" fmla="*/ 167076 w 207783"/>
                <a:gd name="connsiteY6" fmla="*/ 1050394 h 1094293"/>
                <a:gd name="connsiteX7" fmla="*/ 9557 w 207783"/>
                <a:gd name="connsiteY7" fmla="*/ 10621 h 1094293"/>
                <a:gd name="connsiteX8" fmla="*/ 199288 w 207783"/>
                <a:gd name="connsiteY8" fmla="*/ 52750 h 1094293"/>
                <a:gd name="connsiteX9" fmla="*/ 199642 w 207783"/>
                <a:gd name="connsiteY9" fmla="*/ 49210 h 1094293"/>
                <a:gd name="connsiteX10" fmla="*/ 203535 w 207783"/>
                <a:gd name="connsiteY10" fmla="*/ 49564 h 1094293"/>
                <a:gd name="connsiteX11" fmla="*/ 204243 w 207783"/>
                <a:gd name="connsiteY11" fmla="*/ 45669 h 1094293"/>
                <a:gd name="connsiteX12" fmla="*/ 0 w 207783"/>
                <a:gd name="connsiteY12" fmla="*/ 0 h 1094293"/>
                <a:gd name="connsiteX13" fmla="*/ 165660 w 207783"/>
                <a:gd name="connsiteY13" fmla="*/ 1094294 h 1094293"/>
                <a:gd name="connsiteX14" fmla="*/ 173447 w 207783"/>
                <a:gd name="connsiteY14" fmla="*/ 1093940 h 1094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7783" h="1094293">
                  <a:moveTo>
                    <a:pt x="173447" y="1093940"/>
                  </a:moveTo>
                  <a:lnTo>
                    <a:pt x="207783" y="46377"/>
                  </a:lnTo>
                  <a:lnTo>
                    <a:pt x="204243" y="45669"/>
                  </a:lnTo>
                  <a:lnTo>
                    <a:pt x="203535" y="49564"/>
                  </a:lnTo>
                  <a:lnTo>
                    <a:pt x="202473" y="53458"/>
                  </a:lnTo>
                  <a:lnTo>
                    <a:pt x="199288" y="52750"/>
                  </a:lnTo>
                  <a:lnTo>
                    <a:pt x="167076" y="1050394"/>
                  </a:lnTo>
                  <a:lnTo>
                    <a:pt x="9557" y="10621"/>
                  </a:lnTo>
                  <a:lnTo>
                    <a:pt x="199288" y="52750"/>
                  </a:lnTo>
                  <a:lnTo>
                    <a:pt x="199642" y="49210"/>
                  </a:lnTo>
                  <a:lnTo>
                    <a:pt x="203535" y="49564"/>
                  </a:lnTo>
                  <a:lnTo>
                    <a:pt x="204243" y="45669"/>
                  </a:lnTo>
                  <a:lnTo>
                    <a:pt x="0" y="0"/>
                  </a:lnTo>
                  <a:lnTo>
                    <a:pt x="165660" y="1094294"/>
                  </a:lnTo>
                  <a:lnTo>
                    <a:pt x="173447" y="10939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2" name="Freihandform 424">
              <a:extLst>
                <a:ext uri="{FF2B5EF4-FFF2-40B4-BE49-F238E27FC236}">
                  <a16:creationId xmlns:a16="http://schemas.microsoft.com/office/drawing/2014/main" id="{E6771EC4-6E83-4012-BCCA-180A705BE320}"/>
                </a:ext>
              </a:extLst>
            </p:cNvPr>
            <p:cNvSpPr/>
            <p:nvPr/>
          </p:nvSpPr>
          <p:spPr>
            <a:xfrm>
              <a:off x="399598" y="4737509"/>
              <a:ext cx="10619" cy="9912"/>
            </a:xfrm>
            <a:custGeom>
              <a:avLst/>
              <a:gdLst>
                <a:gd name="connsiteX0" fmla="*/ 10619 w 10619"/>
                <a:gd name="connsiteY0" fmla="*/ 5665 h 9912"/>
                <a:gd name="connsiteX1" fmla="*/ 9557 w 10619"/>
                <a:gd name="connsiteY1" fmla="*/ 1770 h 9912"/>
                <a:gd name="connsiteX2" fmla="*/ 6018 w 10619"/>
                <a:gd name="connsiteY2" fmla="*/ 0 h 9912"/>
                <a:gd name="connsiteX3" fmla="*/ 0 w 10619"/>
                <a:gd name="connsiteY3" fmla="*/ 9913 h 9912"/>
                <a:gd name="connsiteX4" fmla="*/ 10619 w 10619"/>
                <a:gd name="connsiteY4" fmla="*/ 5665 h 9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19" h="9912">
                  <a:moveTo>
                    <a:pt x="10619" y="5665"/>
                  </a:moveTo>
                  <a:lnTo>
                    <a:pt x="9557" y="1770"/>
                  </a:lnTo>
                  <a:lnTo>
                    <a:pt x="6018" y="0"/>
                  </a:lnTo>
                  <a:lnTo>
                    <a:pt x="0" y="9913"/>
                  </a:lnTo>
                  <a:lnTo>
                    <a:pt x="10619" y="5665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3" name="Freihandform 425">
              <a:extLst>
                <a:ext uri="{FF2B5EF4-FFF2-40B4-BE49-F238E27FC236}">
                  <a16:creationId xmlns:a16="http://schemas.microsoft.com/office/drawing/2014/main" id="{A0589540-DE9A-4DCF-9D67-EF9F6B4FB616}"/>
                </a:ext>
              </a:extLst>
            </p:cNvPr>
            <p:cNvSpPr/>
            <p:nvPr/>
          </p:nvSpPr>
          <p:spPr>
            <a:xfrm>
              <a:off x="408448" y="4743527"/>
              <a:ext cx="3539" cy="3540"/>
            </a:xfrm>
            <a:custGeom>
              <a:avLst/>
              <a:gdLst>
                <a:gd name="connsiteX0" fmla="*/ 0 w 3539"/>
                <a:gd name="connsiteY0" fmla="*/ 0 h 3540"/>
                <a:gd name="connsiteX1" fmla="*/ 0 w 3539"/>
                <a:gd name="connsiteY1" fmla="*/ 0 h 3540"/>
                <a:gd name="connsiteX2" fmla="*/ 0 w 3539"/>
                <a:gd name="connsiteY2" fmla="*/ 0 h 3540"/>
                <a:gd name="connsiteX3" fmla="*/ 0 w 3539"/>
                <a:gd name="connsiteY3" fmla="*/ 0 h 3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9" h="35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4" name="Freihandform 426">
              <a:extLst>
                <a:ext uri="{FF2B5EF4-FFF2-40B4-BE49-F238E27FC236}">
                  <a16:creationId xmlns:a16="http://schemas.microsoft.com/office/drawing/2014/main" id="{FCC9AE92-2B56-43A8-952E-2E7E97B1F186}"/>
                </a:ext>
              </a:extLst>
            </p:cNvPr>
            <p:cNvSpPr/>
            <p:nvPr/>
          </p:nvSpPr>
          <p:spPr>
            <a:xfrm>
              <a:off x="408448" y="4735384"/>
              <a:ext cx="1415" cy="8142"/>
            </a:xfrm>
            <a:custGeom>
              <a:avLst/>
              <a:gdLst>
                <a:gd name="connsiteX0" fmla="*/ 0 w 1415"/>
                <a:gd name="connsiteY0" fmla="*/ 8143 h 8142"/>
                <a:gd name="connsiteX1" fmla="*/ 708 w 1415"/>
                <a:gd name="connsiteY1" fmla="*/ 8143 h 8142"/>
                <a:gd name="connsiteX2" fmla="*/ 1416 w 1415"/>
                <a:gd name="connsiteY2" fmla="*/ 0 h 8142"/>
                <a:gd name="connsiteX3" fmla="*/ 708 w 1415"/>
                <a:gd name="connsiteY3" fmla="*/ 3894 h 8142"/>
                <a:gd name="connsiteX4" fmla="*/ 0 w 1415"/>
                <a:gd name="connsiteY4" fmla="*/ 8143 h 8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15" h="8142">
                  <a:moveTo>
                    <a:pt x="0" y="8143"/>
                  </a:moveTo>
                  <a:lnTo>
                    <a:pt x="708" y="8143"/>
                  </a:lnTo>
                  <a:lnTo>
                    <a:pt x="1416" y="0"/>
                  </a:lnTo>
                  <a:lnTo>
                    <a:pt x="708" y="3894"/>
                  </a:lnTo>
                  <a:lnTo>
                    <a:pt x="0" y="814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5" name="Freihandform 427">
              <a:extLst>
                <a:ext uri="{FF2B5EF4-FFF2-40B4-BE49-F238E27FC236}">
                  <a16:creationId xmlns:a16="http://schemas.microsoft.com/office/drawing/2014/main" id="{D4AFAB43-901E-4E46-8B54-0AE49099AF36}"/>
                </a:ext>
              </a:extLst>
            </p:cNvPr>
            <p:cNvSpPr/>
            <p:nvPr/>
          </p:nvSpPr>
          <p:spPr>
            <a:xfrm>
              <a:off x="1151440" y="5611599"/>
              <a:ext cx="266542" cy="161081"/>
            </a:xfrm>
            <a:custGeom>
              <a:avLst/>
              <a:gdLst>
                <a:gd name="connsiteX0" fmla="*/ 12035 w 266542"/>
                <a:gd name="connsiteY0" fmla="*/ 161082 h 161081"/>
                <a:gd name="connsiteX1" fmla="*/ 181235 w 266542"/>
                <a:gd name="connsiteY1" fmla="*/ 12391 h 161081"/>
                <a:gd name="connsiteX2" fmla="*/ 179111 w 266542"/>
                <a:gd name="connsiteY2" fmla="*/ 8143 h 161081"/>
                <a:gd name="connsiteX3" fmla="*/ 182651 w 266542"/>
                <a:gd name="connsiteY3" fmla="*/ 6019 h 161081"/>
                <a:gd name="connsiteX4" fmla="*/ 185129 w 266542"/>
                <a:gd name="connsiteY4" fmla="*/ 9205 h 161081"/>
                <a:gd name="connsiteX5" fmla="*/ 181235 w 266542"/>
                <a:gd name="connsiteY5" fmla="*/ 12391 h 161081"/>
                <a:gd name="connsiteX6" fmla="*/ 257694 w 266542"/>
                <a:gd name="connsiteY6" fmla="*/ 161082 h 161081"/>
                <a:gd name="connsiteX7" fmla="*/ 266543 w 266542"/>
                <a:gd name="connsiteY7" fmla="*/ 161082 h 161081"/>
                <a:gd name="connsiteX8" fmla="*/ 183713 w 266542"/>
                <a:gd name="connsiteY8" fmla="*/ 0 h 161081"/>
                <a:gd name="connsiteX9" fmla="*/ 180173 w 266542"/>
                <a:gd name="connsiteY9" fmla="*/ 3186 h 161081"/>
                <a:gd name="connsiteX10" fmla="*/ 0 w 266542"/>
                <a:gd name="connsiteY10" fmla="*/ 161082 h 161081"/>
                <a:gd name="connsiteX11" fmla="*/ 12035 w 266542"/>
                <a:gd name="connsiteY11" fmla="*/ 161082 h 161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6542" h="161081">
                  <a:moveTo>
                    <a:pt x="12035" y="161082"/>
                  </a:moveTo>
                  <a:lnTo>
                    <a:pt x="181235" y="12391"/>
                  </a:lnTo>
                  <a:lnTo>
                    <a:pt x="179111" y="8143"/>
                  </a:lnTo>
                  <a:lnTo>
                    <a:pt x="182651" y="6019"/>
                  </a:lnTo>
                  <a:lnTo>
                    <a:pt x="185129" y="9205"/>
                  </a:lnTo>
                  <a:lnTo>
                    <a:pt x="181235" y="12391"/>
                  </a:lnTo>
                  <a:lnTo>
                    <a:pt x="257694" y="161082"/>
                  </a:lnTo>
                  <a:lnTo>
                    <a:pt x="266543" y="161082"/>
                  </a:lnTo>
                  <a:lnTo>
                    <a:pt x="183713" y="0"/>
                  </a:lnTo>
                  <a:lnTo>
                    <a:pt x="180173" y="3186"/>
                  </a:lnTo>
                  <a:lnTo>
                    <a:pt x="0" y="161082"/>
                  </a:lnTo>
                  <a:lnTo>
                    <a:pt x="12035" y="16108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6" name="Freihandform 428">
              <a:extLst>
                <a:ext uri="{FF2B5EF4-FFF2-40B4-BE49-F238E27FC236}">
                  <a16:creationId xmlns:a16="http://schemas.microsoft.com/office/drawing/2014/main" id="{E24591DE-E29A-4023-B47D-E9948289DF5E}"/>
                </a:ext>
              </a:extLst>
            </p:cNvPr>
            <p:cNvSpPr/>
            <p:nvPr/>
          </p:nvSpPr>
          <p:spPr>
            <a:xfrm>
              <a:off x="1330551" y="5617617"/>
              <a:ext cx="6017" cy="6372"/>
            </a:xfrm>
            <a:custGeom>
              <a:avLst/>
              <a:gdLst>
                <a:gd name="connsiteX0" fmla="*/ 6018 w 6017"/>
                <a:gd name="connsiteY0" fmla="*/ 3186 h 6372"/>
                <a:gd name="connsiteX1" fmla="*/ 3540 w 6017"/>
                <a:gd name="connsiteY1" fmla="*/ 0 h 6372"/>
                <a:gd name="connsiteX2" fmla="*/ 0 w 6017"/>
                <a:gd name="connsiteY2" fmla="*/ 2124 h 6372"/>
                <a:gd name="connsiteX3" fmla="*/ 2124 w 6017"/>
                <a:gd name="connsiteY3" fmla="*/ 6372 h 6372"/>
                <a:gd name="connsiteX4" fmla="*/ 6018 w 6017"/>
                <a:gd name="connsiteY4" fmla="*/ 3186 h 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6372">
                  <a:moveTo>
                    <a:pt x="6018" y="3186"/>
                  </a:moveTo>
                  <a:lnTo>
                    <a:pt x="3540" y="0"/>
                  </a:lnTo>
                  <a:lnTo>
                    <a:pt x="0" y="2124"/>
                  </a:lnTo>
                  <a:lnTo>
                    <a:pt x="2124" y="6372"/>
                  </a:lnTo>
                  <a:lnTo>
                    <a:pt x="6018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7" name="Freihandform 429">
              <a:extLst>
                <a:ext uri="{FF2B5EF4-FFF2-40B4-BE49-F238E27FC236}">
                  <a16:creationId xmlns:a16="http://schemas.microsoft.com/office/drawing/2014/main" id="{CC815701-1F05-4500-8B2E-08880CA90610}"/>
                </a:ext>
              </a:extLst>
            </p:cNvPr>
            <p:cNvSpPr/>
            <p:nvPr/>
          </p:nvSpPr>
          <p:spPr>
            <a:xfrm>
              <a:off x="405262" y="4736447"/>
              <a:ext cx="934846" cy="1036233"/>
            </a:xfrm>
            <a:custGeom>
              <a:avLst/>
              <a:gdLst>
                <a:gd name="connsiteX0" fmla="*/ 425831 w 934846"/>
                <a:gd name="connsiteY0" fmla="*/ 1036233 h 1036233"/>
                <a:gd name="connsiteX1" fmla="*/ 14159 w 934846"/>
                <a:gd name="connsiteY1" fmla="*/ 18763 h 1036233"/>
                <a:gd name="connsiteX2" fmla="*/ 922812 w 934846"/>
                <a:gd name="connsiteY2" fmla="*/ 881170 h 1036233"/>
                <a:gd name="connsiteX3" fmla="*/ 926351 w 934846"/>
                <a:gd name="connsiteY3" fmla="*/ 878338 h 1036233"/>
                <a:gd name="connsiteX4" fmla="*/ 928829 w 934846"/>
                <a:gd name="connsiteY4" fmla="*/ 881170 h 1036233"/>
                <a:gd name="connsiteX5" fmla="*/ 925997 w 934846"/>
                <a:gd name="connsiteY5" fmla="*/ 884356 h 1036233"/>
                <a:gd name="connsiteX6" fmla="*/ 922812 w 934846"/>
                <a:gd name="connsiteY6" fmla="*/ 881170 h 1036233"/>
                <a:gd name="connsiteX7" fmla="*/ 746178 w 934846"/>
                <a:gd name="connsiteY7" fmla="*/ 1036233 h 1036233"/>
                <a:gd name="connsiteX8" fmla="*/ 758213 w 934846"/>
                <a:gd name="connsiteY8" fmla="*/ 1036233 h 1036233"/>
                <a:gd name="connsiteX9" fmla="*/ 934847 w 934846"/>
                <a:gd name="connsiteY9" fmla="*/ 881524 h 1036233"/>
                <a:gd name="connsiteX10" fmla="*/ 931661 w 934846"/>
                <a:gd name="connsiteY10" fmla="*/ 878338 h 1036233"/>
                <a:gd name="connsiteX11" fmla="*/ 6371 w 934846"/>
                <a:gd name="connsiteY11" fmla="*/ 0 h 1036233"/>
                <a:gd name="connsiteX12" fmla="*/ 0 w 934846"/>
                <a:gd name="connsiteY12" fmla="*/ 4602 h 1036233"/>
                <a:gd name="connsiteX13" fmla="*/ 416982 w 934846"/>
                <a:gd name="connsiteY13" fmla="*/ 1036233 h 1036233"/>
                <a:gd name="connsiteX14" fmla="*/ 425831 w 934846"/>
                <a:gd name="connsiteY14" fmla="*/ 1036233 h 103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34846" h="1036233">
                  <a:moveTo>
                    <a:pt x="425831" y="1036233"/>
                  </a:moveTo>
                  <a:lnTo>
                    <a:pt x="14159" y="18763"/>
                  </a:lnTo>
                  <a:lnTo>
                    <a:pt x="922812" y="881170"/>
                  </a:lnTo>
                  <a:lnTo>
                    <a:pt x="926351" y="878338"/>
                  </a:lnTo>
                  <a:lnTo>
                    <a:pt x="928829" y="881170"/>
                  </a:lnTo>
                  <a:lnTo>
                    <a:pt x="925997" y="884356"/>
                  </a:lnTo>
                  <a:lnTo>
                    <a:pt x="922812" y="881170"/>
                  </a:lnTo>
                  <a:lnTo>
                    <a:pt x="746178" y="1036233"/>
                  </a:lnTo>
                  <a:lnTo>
                    <a:pt x="758213" y="1036233"/>
                  </a:lnTo>
                  <a:lnTo>
                    <a:pt x="934847" y="881524"/>
                  </a:lnTo>
                  <a:lnTo>
                    <a:pt x="931661" y="878338"/>
                  </a:lnTo>
                  <a:lnTo>
                    <a:pt x="6371" y="0"/>
                  </a:lnTo>
                  <a:lnTo>
                    <a:pt x="0" y="4602"/>
                  </a:lnTo>
                  <a:lnTo>
                    <a:pt x="416982" y="1036233"/>
                  </a:lnTo>
                  <a:lnTo>
                    <a:pt x="425831" y="103623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8" name="Freihandform 430">
              <a:extLst>
                <a:ext uri="{FF2B5EF4-FFF2-40B4-BE49-F238E27FC236}">
                  <a16:creationId xmlns:a16="http://schemas.microsoft.com/office/drawing/2014/main" id="{13390665-D0F4-44BC-AE1D-46471CB1F62E}"/>
                </a:ext>
              </a:extLst>
            </p:cNvPr>
            <p:cNvSpPr/>
            <p:nvPr/>
          </p:nvSpPr>
          <p:spPr>
            <a:xfrm>
              <a:off x="1328073" y="5614784"/>
              <a:ext cx="6017" cy="6018"/>
            </a:xfrm>
            <a:custGeom>
              <a:avLst/>
              <a:gdLst>
                <a:gd name="connsiteX0" fmla="*/ 6017 w 6017"/>
                <a:gd name="connsiteY0" fmla="*/ 2832 h 6018"/>
                <a:gd name="connsiteX1" fmla="*/ 3540 w 6017"/>
                <a:gd name="connsiteY1" fmla="*/ 0 h 6018"/>
                <a:gd name="connsiteX2" fmla="*/ 0 w 6017"/>
                <a:gd name="connsiteY2" fmla="*/ 2832 h 6018"/>
                <a:gd name="connsiteX3" fmla="*/ 3186 w 6017"/>
                <a:gd name="connsiteY3" fmla="*/ 6018 h 6018"/>
                <a:gd name="connsiteX4" fmla="*/ 6017 w 6017"/>
                <a:gd name="connsiteY4" fmla="*/ 2832 h 6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6018">
                  <a:moveTo>
                    <a:pt x="6017" y="2832"/>
                  </a:moveTo>
                  <a:lnTo>
                    <a:pt x="3540" y="0"/>
                  </a:lnTo>
                  <a:lnTo>
                    <a:pt x="0" y="2832"/>
                  </a:lnTo>
                  <a:lnTo>
                    <a:pt x="3186" y="6018"/>
                  </a:lnTo>
                  <a:lnTo>
                    <a:pt x="6017" y="283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39" name="Freihandform 431">
              <a:extLst>
                <a:ext uri="{FF2B5EF4-FFF2-40B4-BE49-F238E27FC236}">
                  <a16:creationId xmlns:a16="http://schemas.microsoft.com/office/drawing/2014/main" id="{0F6BAEAB-7A06-479E-A33C-97587A563A02}"/>
                </a:ext>
              </a:extLst>
            </p:cNvPr>
            <p:cNvSpPr/>
            <p:nvPr/>
          </p:nvSpPr>
          <p:spPr>
            <a:xfrm>
              <a:off x="4309600" y="4846195"/>
              <a:ext cx="6371" cy="6372"/>
            </a:xfrm>
            <a:custGeom>
              <a:avLst/>
              <a:gdLst>
                <a:gd name="connsiteX0" fmla="*/ 6371 w 6371"/>
                <a:gd name="connsiteY0" fmla="*/ 3186 h 6372"/>
                <a:gd name="connsiteX1" fmla="*/ 3894 w 6371"/>
                <a:gd name="connsiteY1" fmla="*/ 0 h 6372"/>
                <a:gd name="connsiteX2" fmla="*/ 0 w 6371"/>
                <a:gd name="connsiteY2" fmla="*/ 3186 h 6372"/>
                <a:gd name="connsiteX3" fmla="*/ 4248 w 6371"/>
                <a:gd name="connsiteY3" fmla="*/ 6372 h 6372"/>
                <a:gd name="connsiteX4" fmla="*/ 6371 w 6371"/>
                <a:gd name="connsiteY4" fmla="*/ 3186 h 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71" h="6372">
                  <a:moveTo>
                    <a:pt x="6371" y="3186"/>
                  </a:moveTo>
                  <a:lnTo>
                    <a:pt x="3894" y="0"/>
                  </a:lnTo>
                  <a:lnTo>
                    <a:pt x="0" y="3186"/>
                  </a:lnTo>
                  <a:lnTo>
                    <a:pt x="4248" y="6372"/>
                  </a:lnTo>
                  <a:lnTo>
                    <a:pt x="6371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0" name="Freihandform 432">
              <a:extLst>
                <a:ext uri="{FF2B5EF4-FFF2-40B4-BE49-F238E27FC236}">
                  <a16:creationId xmlns:a16="http://schemas.microsoft.com/office/drawing/2014/main" id="{2D7B9C36-E719-41DB-B1B4-8B637B27C53E}"/>
                </a:ext>
              </a:extLst>
            </p:cNvPr>
            <p:cNvSpPr/>
            <p:nvPr/>
          </p:nvSpPr>
          <p:spPr>
            <a:xfrm>
              <a:off x="3128741" y="3989453"/>
              <a:ext cx="1193956" cy="1690827"/>
            </a:xfrm>
            <a:custGeom>
              <a:avLst/>
              <a:gdLst>
                <a:gd name="connsiteX0" fmla="*/ 1193956 w 1193956"/>
                <a:gd name="connsiteY0" fmla="*/ 859574 h 1690827"/>
                <a:gd name="connsiteX1" fmla="*/ 1189709 w 1193956"/>
                <a:gd name="connsiteY1" fmla="*/ 856742 h 1690827"/>
                <a:gd name="connsiteX2" fmla="*/ 1187231 w 1193956"/>
                <a:gd name="connsiteY2" fmla="*/ 859929 h 1690827"/>
                <a:gd name="connsiteX3" fmla="*/ 1185107 w 1193956"/>
                <a:gd name="connsiteY3" fmla="*/ 863115 h 1690827"/>
                <a:gd name="connsiteX4" fmla="*/ 1180859 w 1193956"/>
                <a:gd name="connsiteY4" fmla="*/ 859929 h 1690827"/>
                <a:gd name="connsiteX5" fmla="*/ 162120 w 1193956"/>
                <a:gd name="connsiteY5" fmla="*/ 1675604 h 1690827"/>
                <a:gd name="connsiteX6" fmla="*/ 9558 w 1193956"/>
                <a:gd name="connsiteY6" fmla="*/ 16639 h 1690827"/>
                <a:gd name="connsiteX7" fmla="*/ 1180859 w 1193956"/>
                <a:gd name="connsiteY7" fmla="*/ 859929 h 1690827"/>
                <a:gd name="connsiteX8" fmla="*/ 1184753 w 1193956"/>
                <a:gd name="connsiteY8" fmla="*/ 856742 h 1690827"/>
                <a:gd name="connsiteX9" fmla="*/ 1187231 w 1193956"/>
                <a:gd name="connsiteY9" fmla="*/ 859929 h 1690827"/>
                <a:gd name="connsiteX10" fmla="*/ 1189709 w 1193956"/>
                <a:gd name="connsiteY10" fmla="*/ 856742 h 1690827"/>
                <a:gd name="connsiteX11" fmla="*/ 0 w 1193956"/>
                <a:gd name="connsiteY11" fmla="*/ 0 h 1690827"/>
                <a:gd name="connsiteX12" fmla="*/ 155749 w 1193956"/>
                <a:gd name="connsiteY12" fmla="*/ 1690827 h 1690827"/>
                <a:gd name="connsiteX13" fmla="*/ 1193956 w 1193956"/>
                <a:gd name="connsiteY13" fmla="*/ 859574 h 1690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93956" h="1690827">
                  <a:moveTo>
                    <a:pt x="1193956" y="859574"/>
                  </a:moveTo>
                  <a:lnTo>
                    <a:pt x="1189709" y="856742"/>
                  </a:lnTo>
                  <a:lnTo>
                    <a:pt x="1187231" y="859929"/>
                  </a:lnTo>
                  <a:lnTo>
                    <a:pt x="1185107" y="863115"/>
                  </a:lnTo>
                  <a:lnTo>
                    <a:pt x="1180859" y="859929"/>
                  </a:lnTo>
                  <a:lnTo>
                    <a:pt x="162120" y="1675604"/>
                  </a:lnTo>
                  <a:lnTo>
                    <a:pt x="9558" y="16639"/>
                  </a:lnTo>
                  <a:lnTo>
                    <a:pt x="1180859" y="859929"/>
                  </a:lnTo>
                  <a:lnTo>
                    <a:pt x="1184753" y="856742"/>
                  </a:lnTo>
                  <a:lnTo>
                    <a:pt x="1187231" y="859929"/>
                  </a:lnTo>
                  <a:lnTo>
                    <a:pt x="1189709" y="856742"/>
                  </a:lnTo>
                  <a:lnTo>
                    <a:pt x="0" y="0"/>
                  </a:lnTo>
                  <a:lnTo>
                    <a:pt x="155749" y="1690827"/>
                  </a:lnTo>
                  <a:lnTo>
                    <a:pt x="1193956" y="85957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1" name="Freihandform 433">
              <a:extLst>
                <a:ext uri="{FF2B5EF4-FFF2-40B4-BE49-F238E27FC236}">
                  <a16:creationId xmlns:a16="http://schemas.microsoft.com/office/drawing/2014/main" id="{07C99833-54B0-479C-AA0B-B1901CDE6D32}"/>
                </a:ext>
              </a:extLst>
            </p:cNvPr>
            <p:cNvSpPr/>
            <p:nvPr/>
          </p:nvSpPr>
          <p:spPr>
            <a:xfrm>
              <a:off x="1405948" y="3990869"/>
              <a:ext cx="1886330" cy="1687286"/>
            </a:xfrm>
            <a:custGeom>
              <a:avLst/>
              <a:gdLst>
                <a:gd name="connsiteX0" fmla="*/ 1731289 w 1886330"/>
                <a:gd name="connsiteY0" fmla="*/ 0 h 1687286"/>
                <a:gd name="connsiteX1" fmla="*/ 1725626 w 1886330"/>
                <a:gd name="connsiteY1" fmla="*/ 3540 h 1687286"/>
                <a:gd name="connsiteX2" fmla="*/ 1727749 w 1886330"/>
                <a:gd name="connsiteY2" fmla="*/ 6726 h 1687286"/>
                <a:gd name="connsiteX3" fmla="*/ 1729873 w 1886330"/>
                <a:gd name="connsiteY3" fmla="*/ 10266 h 1687286"/>
                <a:gd name="connsiteX4" fmla="*/ 1724210 w 1886330"/>
                <a:gd name="connsiteY4" fmla="*/ 13807 h 1687286"/>
                <a:gd name="connsiteX5" fmla="*/ 1877127 w 1886330"/>
                <a:gd name="connsiteY5" fmla="*/ 1676312 h 1687286"/>
                <a:gd name="connsiteX6" fmla="*/ 18761 w 1886330"/>
                <a:gd name="connsiteY6" fmla="*/ 1096772 h 1687286"/>
                <a:gd name="connsiteX7" fmla="*/ 1724210 w 1886330"/>
                <a:gd name="connsiteY7" fmla="*/ 13807 h 1687286"/>
                <a:gd name="connsiteX8" fmla="*/ 1723856 w 1886330"/>
                <a:gd name="connsiteY8" fmla="*/ 7434 h 1687286"/>
                <a:gd name="connsiteX9" fmla="*/ 1727749 w 1886330"/>
                <a:gd name="connsiteY9" fmla="*/ 6726 h 1687286"/>
                <a:gd name="connsiteX10" fmla="*/ 1725626 w 1886330"/>
                <a:gd name="connsiteY10" fmla="*/ 3540 h 1687286"/>
                <a:gd name="connsiteX11" fmla="*/ 0 w 1886330"/>
                <a:gd name="connsiteY11" fmla="*/ 1099250 h 1687286"/>
                <a:gd name="connsiteX12" fmla="*/ 1886330 w 1886330"/>
                <a:gd name="connsiteY12" fmla="*/ 1687287 h 1687286"/>
                <a:gd name="connsiteX13" fmla="*/ 1731289 w 1886330"/>
                <a:gd name="connsiteY13" fmla="*/ 0 h 1687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86330" h="1687286">
                  <a:moveTo>
                    <a:pt x="1731289" y="0"/>
                  </a:moveTo>
                  <a:lnTo>
                    <a:pt x="1725626" y="3540"/>
                  </a:lnTo>
                  <a:lnTo>
                    <a:pt x="1727749" y="6726"/>
                  </a:lnTo>
                  <a:lnTo>
                    <a:pt x="1729873" y="10266"/>
                  </a:lnTo>
                  <a:lnTo>
                    <a:pt x="1724210" y="13807"/>
                  </a:lnTo>
                  <a:lnTo>
                    <a:pt x="1877127" y="1676312"/>
                  </a:lnTo>
                  <a:lnTo>
                    <a:pt x="18761" y="1096772"/>
                  </a:lnTo>
                  <a:lnTo>
                    <a:pt x="1724210" y="13807"/>
                  </a:lnTo>
                  <a:lnTo>
                    <a:pt x="1723856" y="7434"/>
                  </a:lnTo>
                  <a:lnTo>
                    <a:pt x="1727749" y="6726"/>
                  </a:lnTo>
                  <a:lnTo>
                    <a:pt x="1725626" y="3540"/>
                  </a:lnTo>
                  <a:lnTo>
                    <a:pt x="0" y="1099250"/>
                  </a:lnTo>
                  <a:lnTo>
                    <a:pt x="1886330" y="1687287"/>
                  </a:lnTo>
                  <a:lnTo>
                    <a:pt x="1731289" y="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2" name="Freihandform 434">
              <a:extLst>
                <a:ext uri="{FF2B5EF4-FFF2-40B4-BE49-F238E27FC236}">
                  <a16:creationId xmlns:a16="http://schemas.microsoft.com/office/drawing/2014/main" id="{5BFD1125-FCA8-4858-94B5-2A5A944B7E95}"/>
                </a:ext>
              </a:extLst>
            </p:cNvPr>
            <p:cNvSpPr/>
            <p:nvPr/>
          </p:nvSpPr>
          <p:spPr>
            <a:xfrm>
              <a:off x="3129803" y="3997594"/>
              <a:ext cx="6017" cy="7080"/>
            </a:xfrm>
            <a:custGeom>
              <a:avLst/>
              <a:gdLst>
                <a:gd name="connsiteX0" fmla="*/ 6017 w 6017"/>
                <a:gd name="connsiteY0" fmla="*/ 3540 h 7080"/>
                <a:gd name="connsiteX1" fmla="*/ 3894 w 6017"/>
                <a:gd name="connsiteY1" fmla="*/ 0 h 7080"/>
                <a:gd name="connsiteX2" fmla="*/ 0 w 6017"/>
                <a:gd name="connsiteY2" fmla="*/ 708 h 7080"/>
                <a:gd name="connsiteX3" fmla="*/ 354 w 6017"/>
                <a:gd name="connsiteY3" fmla="*/ 7081 h 7080"/>
                <a:gd name="connsiteX4" fmla="*/ 6017 w 6017"/>
                <a:gd name="connsiteY4" fmla="*/ 3540 h 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7" h="7080">
                  <a:moveTo>
                    <a:pt x="6017" y="3540"/>
                  </a:moveTo>
                  <a:lnTo>
                    <a:pt x="3894" y="0"/>
                  </a:lnTo>
                  <a:lnTo>
                    <a:pt x="0" y="708"/>
                  </a:lnTo>
                  <a:lnTo>
                    <a:pt x="354" y="7081"/>
                  </a:lnTo>
                  <a:lnTo>
                    <a:pt x="6017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3" name="Freihandform 435">
              <a:extLst>
                <a:ext uri="{FF2B5EF4-FFF2-40B4-BE49-F238E27FC236}">
                  <a16:creationId xmlns:a16="http://schemas.microsoft.com/office/drawing/2014/main" id="{3E81986B-BE0E-4862-9A84-BB6A834AABB3}"/>
                </a:ext>
              </a:extLst>
            </p:cNvPr>
            <p:cNvSpPr/>
            <p:nvPr/>
          </p:nvSpPr>
          <p:spPr>
            <a:xfrm>
              <a:off x="1410549" y="3994055"/>
              <a:ext cx="1725271" cy="1102082"/>
            </a:xfrm>
            <a:custGeom>
              <a:avLst/>
              <a:gdLst>
                <a:gd name="connsiteX0" fmla="*/ 1725271 w 1725271"/>
                <a:gd name="connsiteY0" fmla="*/ 7081 h 1102082"/>
                <a:gd name="connsiteX1" fmla="*/ 1722440 w 1725271"/>
                <a:gd name="connsiteY1" fmla="*/ 0 h 1102082"/>
                <a:gd name="connsiteX2" fmla="*/ 1723148 w 1725271"/>
                <a:gd name="connsiteY2" fmla="*/ 3540 h 1102082"/>
                <a:gd name="connsiteX3" fmla="*/ 1723856 w 1725271"/>
                <a:gd name="connsiteY3" fmla="*/ 7435 h 1102082"/>
                <a:gd name="connsiteX4" fmla="*/ 1702263 w 1725271"/>
                <a:gd name="connsiteY4" fmla="*/ 12391 h 1102082"/>
                <a:gd name="connsiteX5" fmla="*/ 8849 w 1725271"/>
                <a:gd name="connsiteY5" fmla="*/ 1087568 h 1102082"/>
                <a:gd name="connsiteX6" fmla="*/ 8141 w 1725271"/>
                <a:gd name="connsiteY6" fmla="*/ 382702 h 1102082"/>
                <a:gd name="connsiteX7" fmla="*/ 1702263 w 1725271"/>
                <a:gd name="connsiteY7" fmla="*/ 12391 h 1102082"/>
                <a:gd name="connsiteX8" fmla="*/ 1721024 w 1725271"/>
                <a:gd name="connsiteY8" fmla="*/ 354 h 1102082"/>
                <a:gd name="connsiteX9" fmla="*/ 1723148 w 1725271"/>
                <a:gd name="connsiteY9" fmla="*/ 3540 h 1102082"/>
                <a:gd name="connsiteX10" fmla="*/ 1722440 w 1725271"/>
                <a:gd name="connsiteY10" fmla="*/ 0 h 1102082"/>
                <a:gd name="connsiteX11" fmla="*/ 0 w 1725271"/>
                <a:gd name="connsiteY11" fmla="*/ 376330 h 1102082"/>
                <a:gd name="connsiteX12" fmla="*/ 708 w 1725271"/>
                <a:gd name="connsiteY12" fmla="*/ 1102083 h 1102082"/>
                <a:gd name="connsiteX13" fmla="*/ 1725271 w 1725271"/>
                <a:gd name="connsiteY13" fmla="*/ 7081 h 1102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25271" h="1102082">
                  <a:moveTo>
                    <a:pt x="1725271" y="7081"/>
                  </a:moveTo>
                  <a:lnTo>
                    <a:pt x="1722440" y="0"/>
                  </a:lnTo>
                  <a:lnTo>
                    <a:pt x="1723148" y="3540"/>
                  </a:lnTo>
                  <a:lnTo>
                    <a:pt x="1723856" y="7435"/>
                  </a:lnTo>
                  <a:lnTo>
                    <a:pt x="1702263" y="12391"/>
                  </a:lnTo>
                  <a:lnTo>
                    <a:pt x="8849" y="1087568"/>
                  </a:lnTo>
                  <a:lnTo>
                    <a:pt x="8141" y="382702"/>
                  </a:lnTo>
                  <a:lnTo>
                    <a:pt x="1702263" y="12391"/>
                  </a:lnTo>
                  <a:lnTo>
                    <a:pt x="1721024" y="354"/>
                  </a:lnTo>
                  <a:lnTo>
                    <a:pt x="1723148" y="3540"/>
                  </a:lnTo>
                  <a:lnTo>
                    <a:pt x="1722440" y="0"/>
                  </a:lnTo>
                  <a:lnTo>
                    <a:pt x="0" y="376330"/>
                  </a:lnTo>
                  <a:lnTo>
                    <a:pt x="708" y="1102083"/>
                  </a:lnTo>
                  <a:lnTo>
                    <a:pt x="1725271" y="7081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4" name="Freihandform 436">
              <a:extLst>
                <a:ext uri="{FF2B5EF4-FFF2-40B4-BE49-F238E27FC236}">
                  <a16:creationId xmlns:a16="http://schemas.microsoft.com/office/drawing/2014/main" id="{8EA1201D-B4B9-49BB-BC43-C67DDE89355C}"/>
                </a:ext>
              </a:extLst>
            </p:cNvPr>
            <p:cNvSpPr/>
            <p:nvPr/>
          </p:nvSpPr>
          <p:spPr>
            <a:xfrm>
              <a:off x="3112812" y="3994409"/>
              <a:ext cx="21592" cy="12036"/>
            </a:xfrm>
            <a:custGeom>
              <a:avLst/>
              <a:gdLst>
                <a:gd name="connsiteX0" fmla="*/ 20885 w 21592"/>
                <a:gd name="connsiteY0" fmla="*/ 3186 h 12036"/>
                <a:gd name="connsiteX1" fmla="*/ 18761 w 21592"/>
                <a:gd name="connsiteY1" fmla="*/ 0 h 12036"/>
                <a:gd name="connsiteX2" fmla="*/ 0 w 21592"/>
                <a:gd name="connsiteY2" fmla="*/ 12037 h 12036"/>
                <a:gd name="connsiteX3" fmla="*/ 21593 w 21592"/>
                <a:gd name="connsiteY3" fmla="*/ 7081 h 12036"/>
                <a:gd name="connsiteX4" fmla="*/ 20885 w 21592"/>
                <a:gd name="connsiteY4" fmla="*/ 3186 h 12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592" h="12036">
                  <a:moveTo>
                    <a:pt x="20885" y="3186"/>
                  </a:moveTo>
                  <a:lnTo>
                    <a:pt x="18761" y="0"/>
                  </a:lnTo>
                  <a:lnTo>
                    <a:pt x="0" y="12037"/>
                  </a:lnTo>
                  <a:lnTo>
                    <a:pt x="21593" y="7081"/>
                  </a:lnTo>
                  <a:lnTo>
                    <a:pt x="20885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5" name="Freihandform 437">
              <a:extLst>
                <a:ext uri="{FF2B5EF4-FFF2-40B4-BE49-F238E27FC236}">
                  <a16:creationId xmlns:a16="http://schemas.microsoft.com/office/drawing/2014/main" id="{E94EC8DB-D400-4808-A303-FE8F31FE8AA6}"/>
                </a:ext>
              </a:extLst>
            </p:cNvPr>
            <p:cNvSpPr/>
            <p:nvPr/>
          </p:nvSpPr>
          <p:spPr>
            <a:xfrm>
              <a:off x="3126263" y="3994055"/>
              <a:ext cx="7433" cy="6372"/>
            </a:xfrm>
            <a:custGeom>
              <a:avLst/>
              <a:gdLst>
                <a:gd name="connsiteX0" fmla="*/ 7433 w 7433"/>
                <a:gd name="connsiteY0" fmla="*/ 3540 h 6372"/>
                <a:gd name="connsiteX1" fmla="*/ 6726 w 7433"/>
                <a:gd name="connsiteY1" fmla="*/ 0 h 6372"/>
                <a:gd name="connsiteX2" fmla="*/ 0 w 7433"/>
                <a:gd name="connsiteY2" fmla="*/ 1416 h 6372"/>
                <a:gd name="connsiteX3" fmla="*/ 4602 w 7433"/>
                <a:gd name="connsiteY3" fmla="*/ 6373 h 6372"/>
                <a:gd name="connsiteX4" fmla="*/ 7433 w 7433"/>
                <a:gd name="connsiteY4" fmla="*/ 3540 h 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3" h="6372">
                  <a:moveTo>
                    <a:pt x="7433" y="3540"/>
                  </a:moveTo>
                  <a:lnTo>
                    <a:pt x="6726" y="0"/>
                  </a:lnTo>
                  <a:lnTo>
                    <a:pt x="0" y="1416"/>
                  </a:lnTo>
                  <a:lnTo>
                    <a:pt x="4602" y="6373"/>
                  </a:lnTo>
                  <a:lnTo>
                    <a:pt x="7433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6" name="Freihandform 438">
              <a:extLst>
                <a:ext uri="{FF2B5EF4-FFF2-40B4-BE49-F238E27FC236}">
                  <a16:creationId xmlns:a16="http://schemas.microsoft.com/office/drawing/2014/main" id="{B5BBD50E-B3D7-40AD-9B90-86D26C6BCB09}"/>
                </a:ext>
              </a:extLst>
            </p:cNvPr>
            <p:cNvSpPr/>
            <p:nvPr/>
          </p:nvSpPr>
          <p:spPr>
            <a:xfrm>
              <a:off x="4014739" y="4838052"/>
              <a:ext cx="712196" cy="934628"/>
            </a:xfrm>
            <a:custGeom>
              <a:avLst/>
              <a:gdLst>
                <a:gd name="connsiteX0" fmla="*/ 8495 w 712196"/>
                <a:gd name="connsiteY0" fmla="*/ 934628 h 934628"/>
                <a:gd name="connsiteX1" fmla="*/ 301940 w 712196"/>
                <a:gd name="connsiteY1" fmla="*/ 22304 h 934628"/>
                <a:gd name="connsiteX2" fmla="*/ 703701 w 712196"/>
                <a:gd name="connsiteY2" fmla="*/ 934628 h 934628"/>
                <a:gd name="connsiteX3" fmla="*/ 712196 w 712196"/>
                <a:gd name="connsiteY3" fmla="*/ 934628 h 934628"/>
                <a:gd name="connsiteX4" fmla="*/ 300878 w 712196"/>
                <a:gd name="connsiteY4" fmla="*/ 0 h 934628"/>
                <a:gd name="connsiteX5" fmla="*/ 0 w 712196"/>
                <a:gd name="connsiteY5" fmla="*/ 934628 h 934628"/>
                <a:gd name="connsiteX6" fmla="*/ 8495 w 712196"/>
                <a:gd name="connsiteY6" fmla="*/ 934628 h 934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2196" h="934628">
                  <a:moveTo>
                    <a:pt x="8495" y="934628"/>
                  </a:moveTo>
                  <a:lnTo>
                    <a:pt x="301940" y="22304"/>
                  </a:lnTo>
                  <a:lnTo>
                    <a:pt x="703701" y="934628"/>
                  </a:lnTo>
                  <a:lnTo>
                    <a:pt x="712196" y="934628"/>
                  </a:lnTo>
                  <a:lnTo>
                    <a:pt x="300878" y="0"/>
                  </a:lnTo>
                  <a:lnTo>
                    <a:pt x="0" y="934628"/>
                  </a:lnTo>
                  <a:lnTo>
                    <a:pt x="8495" y="93462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7" name="Freihandform 439">
              <a:extLst>
                <a:ext uri="{FF2B5EF4-FFF2-40B4-BE49-F238E27FC236}">
                  <a16:creationId xmlns:a16="http://schemas.microsoft.com/office/drawing/2014/main" id="{94D8A1B8-F315-47B8-B0F0-DA43E57B6F99}"/>
                </a:ext>
              </a:extLst>
            </p:cNvPr>
            <p:cNvSpPr/>
            <p:nvPr/>
          </p:nvSpPr>
          <p:spPr>
            <a:xfrm>
              <a:off x="404554" y="3351497"/>
              <a:ext cx="629366" cy="1394507"/>
            </a:xfrm>
            <a:custGeom>
              <a:avLst/>
              <a:gdLst>
                <a:gd name="connsiteX0" fmla="*/ 629367 w 629366"/>
                <a:gd name="connsiteY0" fmla="*/ 1064202 h 1394507"/>
                <a:gd name="connsiteX1" fmla="*/ 627597 w 629366"/>
                <a:gd name="connsiteY1" fmla="*/ 1060662 h 1394507"/>
                <a:gd name="connsiteX2" fmla="*/ 624057 w 629366"/>
                <a:gd name="connsiteY2" fmla="*/ 1062432 h 1394507"/>
                <a:gd name="connsiteX3" fmla="*/ 620517 w 629366"/>
                <a:gd name="connsiteY3" fmla="*/ 1064556 h 1394507"/>
                <a:gd name="connsiteX4" fmla="*/ 618748 w 629366"/>
                <a:gd name="connsiteY4" fmla="*/ 1061016 h 1394507"/>
                <a:gd name="connsiteX5" fmla="*/ 8849 w 629366"/>
                <a:gd name="connsiteY5" fmla="*/ 1381055 h 1394507"/>
                <a:gd name="connsiteX6" fmla="*/ 76459 w 629366"/>
                <a:gd name="connsiteY6" fmla="*/ 29384 h 1394507"/>
                <a:gd name="connsiteX7" fmla="*/ 618748 w 629366"/>
                <a:gd name="connsiteY7" fmla="*/ 1061016 h 1394507"/>
                <a:gd name="connsiteX8" fmla="*/ 622287 w 629366"/>
                <a:gd name="connsiteY8" fmla="*/ 1059246 h 1394507"/>
                <a:gd name="connsiteX9" fmla="*/ 624057 w 629366"/>
                <a:gd name="connsiteY9" fmla="*/ 1062432 h 1394507"/>
                <a:gd name="connsiteX10" fmla="*/ 627597 w 629366"/>
                <a:gd name="connsiteY10" fmla="*/ 1060662 h 1394507"/>
                <a:gd name="connsiteX11" fmla="*/ 70087 w 629366"/>
                <a:gd name="connsiteY11" fmla="*/ 0 h 1394507"/>
                <a:gd name="connsiteX12" fmla="*/ 0 w 629366"/>
                <a:gd name="connsiteY12" fmla="*/ 1394508 h 1394507"/>
                <a:gd name="connsiteX13" fmla="*/ 629367 w 629366"/>
                <a:gd name="connsiteY13" fmla="*/ 1064202 h 1394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9366" h="1394507">
                  <a:moveTo>
                    <a:pt x="629367" y="1064202"/>
                  </a:moveTo>
                  <a:lnTo>
                    <a:pt x="627597" y="1060662"/>
                  </a:lnTo>
                  <a:lnTo>
                    <a:pt x="624057" y="1062432"/>
                  </a:lnTo>
                  <a:lnTo>
                    <a:pt x="620517" y="1064556"/>
                  </a:lnTo>
                  <a:lnTo>
                    <a:pt x="618748" y="1061016"/>
                  </a:lnTo>
                  <a:lnTo>
                    <a:pt x="8849" y="1381055"/>
                  </a:lnTo>
                  <a:lnTo>
                    <a:pt x="76459" y="29384"/>
                  </a:lnTo>
                  <a:lnTo>
                    <a:pt x="618748" y="1061016"/>
                  </a:lnTo>
                  <a:lnTo>
                    <a:pt x="622287" y="1059246"/>
                  </a:lnTo>
                  <a:lnTo>
                    <a:pt x="624057" y="1062432"/>
                  </a:lnTo>
                  <a:lnTo>
                    <a:pt x="627597" y="1060662"/>
                  </a:lnTo>
                  <a:lnTo>
                    <a:pt x="70087" y="0"/>
                  </a:lnTo>
                  <a:lnTo>
                    <a:pt x="0" y="1394508"/>
                  </a:lnTo>
                  <a:lnTo>
                    <a:pt x="629367" y="1064202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8" name="Freihandform 440">
              <a:extLst>
                <a:ext uri="{FF2B5EF4-FFF2-40B4-BE49-F238E27FC236}">
                  <a16:creationId xmlns:a16="http://schemas.microsoft.com/office/drawing/2014/main" id="{7FB5A807-0239-47EC-A944-CC86512F133D}"/>
                </a:ext>
              </a:extLst>
            </p:cNvPr>
            <p:cNvSpPr/>
            <p:nvPr/>
          </p:nvSpPr>
          <p:spPr>
            <a:xfrm>
              <a:off x="1023301" y="4410742"/>
              <a:ext cx="5309" cy="5310"/>
            </a:xfrm>
            <a:custGeom>
              <a:avLst/>
              <a:gdLst>
                <a:gd name="connsiteX0" fmla="*/ 5310 w 5309"/>
                <a:gd name="connsiteY0" fmla="*/ 3186 h 5310"/>
                <a:gd name="connsiteX1" fmla="*/ 3540 w 5309"/>
                <a:gd name="connsiteY1" fmla="*/ 0 h 5310"/>
                <a:gd name="connsiteX2" fmla="*/ 0 w 5309"/>
                <a:gd name="connsiteY2" fmla="*/ 1770 h 5310"/>
                <a:gd name="connsiteX3" fmla="*/ 1770 w 5309"/>
                <a:gd name="connsiteY3" fmla="*/ 5310 h 5310"/>
                <a:gd name="connsiteX4" fmla="*/ 5310 w 5309"/>
                <a:gd name="connsiteY4" fmla="*/ 3186 h 5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9" h="5310">
                  <a:moveTo>
                    <a:pt x="5310" y="3186"/>
                  </a:moveTo>
                  <a:lnTo>
                    <a:pt x="3540" y="0"/>
                  </a:lnTo>
                  <a:lnTo>
                    <a:pt x="0" y="1770"/>
                  </a:lnTo>
                  <a:lnTo>
                    <a:pt x="1770" y="5310"/>
                  </a:lnTo>
                  <a:lnTo>
                    <a:pt x="5310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49" name="Freihandform 441">
              <a:extLst>
                <a:ext uri="{FF2B5EF4-FFF2-40B4-BE49-F238E27FC236}">
                  <a16:creationId xmlns:a16="http://schemas.microsoft.com/office/drawing/2014/main" id="{48ADA96F-F479-494E-A721-C5DC02C119D9}"/>
                </a:ext>
              </a:extLst>
            </p:cNvPr>
            <p:cNvSpPr/>
            <p:nvPr/>
          </p:nvSpPr>
          <p:spPr>
            <a:xfrm>
              <a:off x="471455" y="3321405"/>
              <a:ext cx="561049" cy="1094648"/>
            </a:xfrm>
            <a:custGeom>
              <a:avLst/>
              <a:gdLst>
                <a:gd name="connsiteX0" fmla="*/ 561050 w 561049"/>
                <a:gd name="connsiteY0" fmla="*/ 1092170 h 1094648"/>
                <a:gd name="connsiteX1" fmla="*/ 395390 w 561049"/>
                <a:gd name="connsiteY1" fmla="*/ 0 h 1094648"/>
                <a:gd name="connsiteX2" fmla="*/ 391850 w 561049"/>
                <a:gd name="connsiteY2" fmla="*/ 354 h 1094648"/>
                <a:gd name="connsiteX3" fmla="*/ 392204 w 561049"/>
                <a:gd name="connsiteY3" fmla="*/ 4249 h 1094648"/>
                <a:gd name="connsiteX4" fmla="*/ 392558 w 561049"/>
                <a:gd name="connsiteY4" fmla="*/ 8497 h 1094648"/>
                <a:gd name="connsiteX5" fmla="*/ 389018 w 561049"/>
                <a:gd name="connsiteY5" fmla="*/ 8497 h 1094648"/>
                <a:gd name="connsiteX6" fmla="*/ 549722 w 561049"/>
                <a:gd name="connsiteY6" fmla="*/ 1069866 h 1094648"/>
                <a:gd name="connsiteX7" fmla="*/ 12743 w 561049"/>
                <a:gd name="connsiteY7" fmla="*/ 48148 h 1094648"/>
                <a:gd name="connsiteX8" fmla="*/ 389018 w 561049"/>
                <a:gd name="connsiteY8" fmla="*/ 8497 h 1094648"/>
                <a:gd name="connsiteX9" fmla="*/ 388310 w 561049"/>
                <a:gd name="connsiteY9" fmla="*/ 4956 h 1094648"/>
                <a:gd name="connsiteX10" fmla="*/ 392204 w 561049"/>
                <a:gd name="connsiteY10" fmla="*/ 4249 h 1094648"/>
                <a:gd name="connsiteX11" fmla="*/ 391850 w 561049"/>
                <a:gd name="connsiteY11" fmla="*/ 354 h 1094648"/>
                <a:gd name="connsiteX12" fmla="*/ 0 w 561049"/>
                <a:gd name="connsiteY12" fmla="*/ 41421 h 1094648"/>
                <a:gd name="connsiteX13" fmla="*/ 553616 w 561049"/>
                <a:gd name="connsiteY13" fmla="*/ 1094648 h 1094648"/>
                <a:gd name="connsiteX14" fmla="*/ 561050 w 561049"/>
                <a:gd name="connsiteY14" fmla="*/ 1092170 h 1094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61049" h="1094648">
                  <a:moveTo>
                    <a:pt x="561050" y="1092170"/>
                  </a:moveTo>
                  <a:lnTo>
                    <a:pt x="395390" y="0"/>
                  </a:lnTo>
                  <a:lnTo>
                    <a:pt x="391850" y="354"/>
                  </a:lnTo>
                  <a:lnTo>
                    <a:pt x="392204" y="4249"/>
                  </a:lnTo>
                  <a:lnTo>
                    <a:pt x="392558" y="8497"/>
                  </a:lnTo>
                  <a:lnTo>
                    <a:pt x="389018" y="8497"/>
                  </a:lnTo>
                  <a:lnTo>
                    <a:pt x="549722" y="1069866"/>
                  </a:lnTo>
                  <a:lnTo>
                    <a:pt x="12743" y="48148"/>
                  </a:lnTo>
                  <a:lnTo>
                    <a:pt x="389018" y="8497"/>
                  </a:lnTo>
                  <a:lnTo>
                    <a:pt x="388310" y="4956"/>
                  </a:lnTo>
                  <a:lnTo>
                    <a:pt x="392204" y="4249"/>
                  </a:lnTo>
                  <a:lnTo>
                    <a:pt x="391850" y="354"/>
                  </a:lnTo>
                  <a:lnTo>
                    <a:pt x="0" y="41421"/>
                  </a:lnTo>
                  <a:lnTo>
                    <a:pt x="553616" y="1094648"/>
                  </a:lnTo>
                  <a:lnTo>
                    <a:pt x="561050" y="109217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0" name="Freihandform 442">
              <a:extLst>
                <a:ext uri="{FF2B5EF4-FFF2-40B4-BE49-F238E27FC236}">
                  <a16:creationId xmlns:a16="http://schemas.microsoft.com/office/drawing/2014/main" id="{E6F86103-D7A5-4161-8BBD-BEC7A518B1F3}"/>
                </a:ext>
              </a:extLst>
            </p:cNvPr>
            <p:cNvSpPr/>
            <p:nvPr/>
          </p:nvSpPr>
          <p:spPr>
            <a:xfrm>
              <a:off x="859765" y="3325653"/>
              <a:ext cx="4247" cy="4248"/>
            </a:xfrm>
            <a:custGeom>
              <a:avLst/>
              <a:gdLst>
                <a:gd name="connsiteX0" fmla="*/ 4248 w 4247"/>
                <a:gd name="connsiteY0" fmla="*/ 4248 h 4248"/>
                <a:gd name="connsiteX1" fmla="*/ 3894 w 4247"/>
                <a:gd name="connsiteY1" fmla="*/ 0 h 4248"/>
                <a:gd name="connsiteX2" fmla="*/ 0 w 4247"/>
                <a:gd name="connsiteY2" fmla="*/ 708 h 4248"/>
                <a:gd name="connsiteX3" fmla="*/ 708 w 4247"/>
                <a:gd name="connsiteY3" fmla="*/ 4248 h 4248"/>
                <a:gd name="connsiteX4" fmla="*/ 4248 w 4247"/>
                <a:gd name="connsiteY4" fmla="*/ 4248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248">
                  <a:moveTo>
                    <a:pt x="4248" y="4248"/>
                  </a:moveTo>
                  <a:lnTo>
                    <a:pt x="3894" y="0"/>
                  </a:lnTo>
                  <a:lnTo>
                    <a:pt x="0" y="708"/>
                  </a:lnTo>
                  <a:lnTo>
                    <a:pt x="708" y="4248"/>
                  </a:lnTo>
                  <a:lnTo>
                    <a:pt x="4248" y="424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1" name="Freihandform 443">
              <a:extLst>
                <a:ext uri="{FF2B5EF4-FFF2-40B4-BE49-F238E27FC236}">
                  <a16:creationId xmlns:a16="http://schemas.microsoft.com/office/drawing/2014/main" id="{9D5FA944-0D99-4F99-8DA9-DEB182BDA5D1}"/>
                </a:ext>
              </a:extLst>
            </p:cNvPr>
            <p:cNvSpPr/>
            <p:nvPr/>
          </p:nvSpPr>
          <p:spPr>
            <a:xfrm>
              <a:off x="473578" y="3366012"/>
              <a:ext cx="4247" cy="4248"/>
            </a:xfrm>
            <a:custGeom>
              <a:avLst/>
              <a:gdLst>
                <a:gd name="connsiteX0" fmla="*/ 3540 w 4247"/>
                <a:gd name="connsiteY0" fmla="*/ 4248 h 4248"/>
                <a:gd name="connsiteX1" fmla="*/ 4248 w 4247"/>
                <a:gd name="connsiteY1" fmla="*/ 354 h 4248"/>
                <a:gd name="connsiteX2" fmla="*/ 0 w 4247"/>
                <a:gd name="connsiteY2" fmla="*/ 0 h 4248"/>
                <a:gd name="connsiteX3" fmla="*/ 0 w 4247"/>
                <a:gd name="connsiteY3" fmla="*/ 3540 h 4248"/>
                <a:gd name="connsiteX4" fmla="*/ 3540 w 4247"/>
                <a:gd name="connsiteY4" fmla="*/ 4248 h 4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7" h="4248">
                  <a:moveTo>
                    <a:pt x="3540" y="4248"/>
                  </a:moveTo>
                  <a:lnTo>
                    <a:pt x="4248" y="354"/>
                  </a:lnTo>
                  <a:lnTo>
                    <a:pt x="0" y="0"/>
                  </a:lnTo>
                  <a:lnTo>
                    <a:pt x="0" y="3540"/>
                  </a:lnTo>
                  <a:lnTo>
                    <a:pt x="3540" y="4248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2" name="Freihandform 444">
              <a:extLst>
                <a:ext uri="{FF2B5EF4-FFF2-40B4-BE49-F238E27FC236}">
                  <a16:creationId xmlns:a16="http://schemas.microsoft.com/office/drawing/2014/main" id="{D105F63C-E295-40F8-855E-D981556FBD3E}"/>
                </a:ext>
              </a:extLst>
            </p:cNvPr>
            <p:cNvSpPr/>
            <p:nvPr/>
          </p:nvSpPr>
          <p:spPr>
            <a:xfrm>
              <a:off x="475703" y="3205639"/>
              <a:ext cx="397867" cy="164621"/>
            </a:xfrm>
            <a:custGeom>
              <a:avLst/>
              <a:gdLst>
                <a:gd name="connsiteX0" fmla="*/ 397867 w 397867"/>
                <a:gd name="connsiteY0" fmla="*/ 123201 h 164621"/>
                <a:gd name="connsiteX1" fmla="*/ 247782 w 397867"/>
                <a:gd name="connsiteY1" fmla="*/ 0 h 164621"/>
                <a:gd name="connsiteX2" fmla="*/ 245304 w 397867"/>
                <a:gd name="connsiteY2" fmla="*/ 1416 h 164621"/>
                <a:gd name="connsiteX3" fmla="*/ 247428 w 397867"/>
                <a:gd name="connsiteY3" fmla="*/ 4603 h 164621"/>
                <a:gd name="connsiteX4" fmla="*/ 249552 w 397867"/>
                <a:gd name="connsiteY4" fmla="*/ 8143 h 164621"/>
                <a:gd name="connsiteX5" fmla="*/ 247074 w 397867"/>
                <a:gd name="connsiteY5" fmla="*/ 9559 h 164621"/>
                <a:gd name="connsiteX6" fmla="*/ 378045 w 397867"/>
                <a:gd name="connsiteY6" fmla="*/ 117182 h 164621"/>
                <a:gd name="connsiteX7" fmla="*/ 18407 w 397867"/>
                <a:gd name="connsiteY7" fmla="*/ 155063 h 164621"/>
                <a:gd name="connsiteX8" fmla="*/ 247074 w 397867"/>
                <a:gd name="connsiteY8" fmla="*/ 9559 h 164621"/>
                <a:gd name="connsiteX9" fmla="*/ 244950 w 397867"/>
                <a:gd name="connsiteY9" fmla="*/ 7788 h 164621"/>
                <a:gd name="connsiteX10" fmla="*/ 247428 w 397867"/>
                <a:gd name="connsiteY10" fmla="*/ 4603 h 164621"/>
                <a:gd name="connsiteX11" fmla="*/ 245304 w 397867"/>
                <a:gd name="connsiteY11" fmla="*/ 1416 h 164621"/>
                <a:gd name="connsiteX12" fmla="*/ 0 w 397867"/>
                <a:gd name="connsiteY12" fmla="*/ 157188 h 164621"/>
                <a:gd name="connsiteX13" fmla="*/ 2478 w 397867"/>
                <a:gd name="connsiteY13" fmla="*/ 164622 h 164621"/>
                <a:gd name="connsiteX14" fmla="*/ 397867 w 397867"/>
                <a:gd name="connsiteY14" fmla="*/ 123201 h 164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7867" h="164621">
                  <a:moveTo>
                    <a:pt x="397867" y="123201"/>
                  </a:moveTo>
                  <a:lnTo>
                    <a:pt x="247782" y="0"/>
                  </a:lnTo>
                  <a:lnTo>
                    <a:pt x="245304" y="1416"/>
                  </a:lnTo>
                  <a:lnTo>
                    <a:pt x="247428" y="4603"/>
                  </a:lnTo>
                  <a:lnTo>
                    <a:pt x="249552" y="8143"/>
                  </a:lnTo>
                  <a:lnTo>
                    <a:pt x="247074" y="9559"/>
                  </a:lnTo>
                  <a:lnTo>
                    <a:pt x="378045" y="117182"/>
                  </a:lnTo>
                  <a:lnTo>
                    <a:pt x="18407" y="155063"/>
                  </a:lnTo>
                  <a:lnTo>
                    <a:pt x="247074" y="9559"/>
                  </a:lnTo>
                  <a:lnTo>
                    <a:pt x="244950" y="7788"/>
                  </a:lnTo>
                  <a:lnTo>
                    <a:pt x="247428" y="4603"/>
                  </a:lnTo>
                  <a:lnTo>
                    <a:pt x="245304" y="1416"/>
                  </a:lnTo>
                  <a:lnTo>
                    <a:pt x="0" y="157188"/>
                  </a:lnTo>
                  <a:lnTo>
                    <a:pt x="2478" y="164622"/>
                  </a:lnTo>
                  <a:lnTo>
                    <a:pt x="397867" y="123201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3" name="Freihandform 445">
              <a:extLst>
                <a:ext uri="{FF2B5EF4-FFF2-40B4-BE49-F238E27FC236}">
                  <a16:creationId xmlns:a16="http://schemas.microsoft.com/office/drawing/2014/main" id="{03897194-3CFE-4AFD-A1E3-6A11275F71C2}"/>
                </a:ext>
              </a:extLst>
            </p:cNvPr>
            <p:cNvSpPr/>
            <p:nvPr/>
          </p:nvSpPr>
          <p:spPr>
            <a:xfrm>
              <a:off x="720653" y="3210241"/>
              <a:ext cx="4601" cy="4956"/>
            </a:xfrm>
            <a:custGeom>
              <a:avLst/>
              <a:gdLst>
                <a:gd name="connsiteX0" fmla="*/ 4602 w 4601"/>
                <a:gd name="connsiteY0" fmla="*/ 3540 h 4956"/>
                <a:gd name="connsiteX1" fmla="*/ 2478 w 4601"/>
                <a:gd name="connsiteY1" fmla="*/ 0 h 4956"/>
                <a:gd name="connsiteX2" fmla="*/ 0 w 4601"/>
                <a:gd name="connsiteY2" fmla="*/ 3186 h 4956"/>
                <a:gd name="connsiteX3" fmla="*/ 2124 w 4601"/>
                <a:gd name="connsiteY3" fmla="*/ 4956 h 4956"/>
                <a:gd name="connsiteX4" fmla="*/ 4602 w 4601"/>
                <a:gd name="connsiteY4" fmla="*/ 3540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956">
                  <a:moveTo>
                    <a:pt x="4602" y="3540"/>
                  </a:moveTo>
                  <a:lnTo>
                    <a:pt x="2478" y="0"/>
                  </a:lnTo>
                  <a:lnTo>
                    <a:pt x="0" y="3186"/>
                  </a:lnTo>
                  <a:lnTo>
                    <a:pt x="2124" y="4956"/>
                  </a:lnTo>
                  <a:lnTo>
                    <a:pt x="4602" y="3540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4" name="Freihandform 446">
              <a:extLst>
                <a:ext uri="{FF2B5EF4-FFF2-40B4-BE49-F238E27FC236}">
                  <a16:creationId xmlns:a16="http://schemas.microsoft.com/office/drawing/2014/main" id="{F98935C9-421F-4431-B513-661903E4FB35}"/>
                </a:ext>
              </a:extLst>
            </p:cNvPr>
            <p:cNvSpPr/>
            <p:nvPr/>
          </p:nvSpPr>
          <p:spPr>
            <a:xfrm>
              <a:off x="718174" y="3207055"/>
              <a:ext cx="4955" cy="4956"/>
            </a:xfrm>
            <a:custGeom>
              <a:avLst/>
              <a:gdLst>
                <a:gd name="connsiteX0" fmla="*/ 4956 w 4955"/>
                <a:gd name="connsiteY0" fmla="*/ 3186 h 4956"/>
                <a:gd name="connsiteX1" fmla="*/ 2832 w 4955"/>
                <a:gd name="connsiteY1" fmla="*/ 0 h 4956"/>
                <a:gd name="connsiteX2" fmla="*/ 0 w 4955"/>
                <a:gd name="connsiteY2" fmla="*/ 1770 h 4956"/>
                <a:gd name="connsiteX3" fmla="*/ 1416 w 4955"/>
                <a:gd name="connsiteY3" fmla="*/ 4956 h 4956"/>
                <a:gd name="connsiteX4" fmla="*/ 4956 w 4955"/>
                <a:gd name="connsiteY4" fmla="*/ 3186 h 4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5" h="4956">
                  <a:moveTo>
                    <a:pt x="4956" y="3186"/>
                  </a:moveTo>
                  <a:lnTo>
                    <a:pt x="2832" y="0"/>
                  </a:lnTo>
                  <a:lnTo>
                    <a:pt x="0" y="1770"/>
                  </a:lnTo>
                  <a:lnTo>
                    <a:pt x="1416" y="4956"/>
                  </a:lnTo>
                  <a:lnTo>
                    <a:pt x="4956" y="3186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5" name="Freihandform 447">
              <a:extLst>
                <a:ext uri="{FF2B5EF4-FFF2-40B4-BE49-F238E27FC236}">
                  <a16:creationId xmlns:a16="http://schemas.microsoft.com/office/drawing/2014/main" id="{96B51451-BBFE-47D4-9649-7953C1FAC992}"/>
                </a:ext>
              </a:extLst>
            </p:cNvPr>
            <p:cNvSpPr/>
            <p:nvPr/>
          </p:nvSpPr>
          <p:spPr>
            <a:xfrm>
              <a:off x="390749" y="2462892"/>
              <a:ext cx="337337" cy="910200"/>
            </a:xfrm>
            <a:custGeom>
              <a:avLst/>
              <a:gdLst>
                <a:gd name="connsiteX0" fmla="*/ 337338 w 337337"/>
                <a:gd name="connsiteY0" fmla="*/ 749119 h 910200"/>
                <a:gd name="connsiteX1" fmla="*/ 335922 w 337337"/>
                <a:gd name="connsiteY1" fmla="*/ 745933 h 910200"/>
                <a:gd name="connsiteX2" fmla="*/ 332382 w 337337"/>
                <a:gd name="connsiteY2" fmla="*/ 747349 h 910200"/>
                <a:gd name="connsiteX3" fmla="*/ 328842 w 337337"/>
                <a:gd name="connsiteY3" fmla="*/ 749119 h 910200"/>
                <a:gd name="connsiteX4" fmla="*/ 327426 w 337337"/>
                <a:gd name="connsiteY4" fmla="*/ 745933 h 910200"/>
                <a:gd name="connsiteX5" fmla="*/ 90617 w 337337"/>
                <a:gd name="connsiteY5" fmla="*/ 896394 h 910200"/>
                <a:gd name="connsiteX6" fmla="*/ 10265 w 337337"/>
                <a:gd name="connsiteY6" fmla="*/ 25490 h 910200"/>
                <a:gd name="connsiteX7" fmla="*/ 327426 w 337337"/>
                <a:gd name="connsiteY7" fmla="*/ 745933 h 910200"/>
                <a:gd name="connsiteX8" fmla="*/ 330258 w 337337"/>
                <a:gd name="connsiteY8" fmla="*/ 744163 h 910200"/>
                <a:gd name="connsiteX9" fmla="*/ 332382 w 337337"/>
                <a:gd name="connsiteY9" fmla="*/ 747349 h 910200"/>
                <a:gd name="connsiteX10" fmla="*/ 335922 w 337337"/>
                <a:gd name="connsiteY10" fmla="*/ 745933 h 910200"/>
                <a:gd name="connsiteX11" fmla="*/ 7787 w 337337"/>
                <a:gd name="connsiteY11" fmla="*/ 0 h 910200"/>
                <a:gd name="connsiteX12" fmla="*/ 0 w 337337"/>
                <a:gd name="connsiteY12" fmla="*/ 1770 h 910200"/>
                <a:gd name="connsiteX13" fmla="*/ 83538 w 337337"/>
                <a:gd name="connsiteY13" fmla="*/ 910201 h 910200"/>
                <a:gd name="connsiteX14" fmla="*/ 337338 w 337337"/>
                <a:gd name="connsiteY14" fmla="*/ 749119 h 91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7337" h="910200">
                  <a:moveTo>
                    <a:pt x="337338" y="749119"/>
                  </a:moveTo>
                  <a:lnTo>
                    <a:pt x="335922" y="745933"/>
                  </a:lnTo>
                  <a:lnTo>
                    <a:pt x="332382" y="747349"/>
                  </a:lnTo>
                  <a:lnTo>
                    <a:pt x="328842" y="749119"/>
                  </a:lnTo>
                  <a:lnTo>
                    <a:pt x="327426" y="745933"/>
                  </a:lnTo>
                  <a:lnTo>
                    <a:pt x="90617" y="896394"/>
                  </a:lnTo>
                  <a:lnTo>
                    <a:pt x="10265" y="25490"/>
                  </a:lnTo>
                  <a:lnTo>
                    <a:pt x="327426" y="745933"/>
                  </a:lnTo>
                  <a:lnTo>
                    <a:pt x="330258" y="744163"/>
                  </a:lnTo>
                  <a:lnTo>
                    <a:pt x="332382" y="747349"/>
                  </a:lnTo>
                  <a:lnTo>
                    <a:pt x="335922" y="745933"/>
                  </a:lnTo>
                  <a:lnTo>
                    <a:pt x="7787" y="0"/>
                  </a:lnTo>
                  <a:lnTo>
                    <a:pt x="0" y="1770"/>
                  </a:lnTo>
                  <a:lnTo>
                    <a:pt x="83538" y="910201"/>
                  </a:lnTo>
                  <a:lnTo>
                    <a:pt x="337338" y="749119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6" name="Freihandform 448">
              <a:extLst>
                <a:ext uri="{FF2B5EF4-FFF2-40B4-BE49-F238E27FC236}">
                  <a16:creationId xmlns:a16="http://schemas.microsoft.com/office/drawing/2014/main" id="{DB50021F-41A8-4BEC-AF3D-A4AD4EF4D502}"/>
                </a:ext>
              </a:extLst>
            </p:cNvPr>
            <p:cNvSpPr/>
            <p:nvPr/>
          </p:nvSpPr>
          <p:spPr>
            <a:xfrm>
              <a:off x="390749" y="2464308"/>
              <a:ext cx="4601" cy="4602"/>
            </a:xfrm>
            <a:custGeom>
              <a:avLst/>
              <a:gdLst>
                <a:gd name="connsiteX0" fmla="*/ 4602 w 4601"/>
                <a:gd name="connsiteY0" fmla="*/ 3894 h 4602"/>
                <a:gd name="connsiteX1" fmla="*/ 3894 w 4601"/>
                <a:gd name="connsiteY1" fmla="*/ 0 h 4602"/>
                <a:gd name="connsiteX2" fmla="*/ 0 w 4601"/>
                <a:gd name="connsiteY2" fmla="*/ 354 h 4602"/>
                <a:gd name="connsiteX3" fmla="*/ 354 w 4601"/>
                <a:gd name="connsiteY3" fmla="*/ 4603 h 4602"/>
                <a:gd name="connsiteX4" fmla="*/ 4602 w 4601"/>
                <a:gd name="connsiteY4" fmla="*/ 3894 h 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01" h="4602">
                  <a:moveTo>
                    <a:pt x="4602" y="3894"/>
                  </a:moveTo>
                  <a:lnTo>
                    <a:pt x="3894" y="0"/>
                  </a:lnTo>
                  <a:lnTo>
                    <a:pt x="0" y="354"/>
                  </a:lnTo>
                  <a:lnTo>
                    <a:pt x="354" y="4603"/>
                  </a:lnTo>
                  <a:lnTo>
                    <a:pt x="4602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7" name="Freihandform 449">
              <a:extLst>
                <a:ext uri="{FF2B5EF4-FFF2-40B4-BE49-F238E27FC236}">
                  <a16:creationId xmlns:a16="http://schemas.microsoft.com/office/drawing/2014/main" id="{A7C0968B-C394-4320-B489-C3F91488A729}"/>
                </a:ext>
              </a:extLst>
            </p:cNvPr>
            <p:cNvSpPr/>
            <p:nvPr/>
          </p:nvSpPr>
          <p:spPr>
            <a:xfrm>
              <a:off x="448447" y="3356453"/>
              <a:ext cx="30087" cy="13453"/>
            </a:xfrm>
            <a:custGeom>
              <a:avLst/>
              <a:gdLst>
                <a:gd name="connsiteX0" fmla="*/ 29380 w 30087"/>
                <a:gd name="connsiteY0" fmla="*/ 9913 h 13453"/>
                <a:gd name="connsiteX1" fmla="*/ 30088 w 30087"/>
                <a:gd name="connsiteY1" fmla="*/ 5664 h 13453"/>
                <a:gd name="connsiteX2" fmla="*/ 0 w 30087"/>
                <a:gd name="connsiteY2" fmla="*/ 0 h 13453"/>
                <a:gd name="connsiteX3" fmla="*/ 27610 w 30087"/>
                <a:gd name="connsiteY3" fmla="*/ 13453 h 13453"/>
                <a:gd name="connsiteX4" fmla="*/ 29380 w 30087"/>
                <a:gd name="connsiteY4" fmla="*/ 9913 h 13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87" h="13453">
                  <a:moveTo>
                    <a:pt x="29380" y="9913"/>
                  </a:moveTo>
                  <a:lnTo>
                    <a:pt x="30088" y="5664"/>
                  </a:lnTo>
                  <a:lnTo>
                    <a:pt x="0" y="0"/>
                  </a:lnTo>
                  <a:lnTo>
                    <a:pt x="27610" y="13453"/>
                  </a:lnTo>
                  <a:lnTo>
                    <a:pt x="29380" y="9913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58" name="Freihandform 450">
              <a:extLst>
                <a:ext uri="{FF2B5EF4-FFF2-40B4-BE49-F238E27FC236}">
                  <a16:creationId xmlns:a16="http://schemas.microsoft.com/office/drawing/2014/main" id="{D2AB93D2-8476-40E6-94F6-7764F77D55F8}"/>
                </a:ext>
              </a:extLst>
            </p:cNvPr>
            <p:cNvSpPr/>
            <p:nvPr/>
          </p:nvSpPr>
          <p:spPr>
            <a:xfrm>
              <a:off x="387917" y="2460414"/>
              <a:ext cx="6725" cy="6372"/>
            </a:xfrm>
            <a:custGeom>
              <a:avLst/>
              <a:gdLst>
                <a:gd name="connsiteX0" fmla="*/ 6725 w 6725"/>
                <a:gd name="connsiteY0" fmla="*/ 3894 h 6372"/>
                <a:gd name="connsiteX1" fmla="*/ 6371 w 6725"/>
                <a:gd name="connsiteY1" fmla="*/ 0 h 6372"/>
                <a:gd name="connsiteX2" fmla="*/ 0 w 6725"/>
                <a:gd name="connsiteY2" fmla="*/ 1062 h 6372"/>
                <a:gd name="connsiteX3" fmla="*/ 3540 w 6725"/>
                <a:gd name="connsiteY3" fmla="*/ 6373 h 6372"/>
                <a:gd name="connsiteX4" fmla="*/ 6725 w 6725"/>
                <a:gd name="connsiteY4" fmla="*/ 3894 h 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5" h="6372">
                  <a:moveTo>
                    <a:pt x="6725" y="3894"/>
                  </a:moveTo>
                  <a:lnTo>
                    <a:pt x="6371" y="0"/>
                  </a:lnTo>
                  <a:lnTo>
                    <a:pt x="0" y="1062"/>
                  </a:lnTo>
                  <a:lnTo>
                    <a:pt x="3540" y="6373"/>
                  </a:lnTo>
                  <a:lnTo>
                    <a:pt x="6725" y="3894"/>
                  </a:ln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grpSp>
          <p:nvGrpSpPr>
            <p:cNvPr id="359" name="Grafik 29">
              <a:extLst>
                <a:ext uri="{FF2B5EF4-FFF2-40B4-BE49-F238E27FC236}">
                  <a16:creationId xmlns:a16="http://schemas.microsoft.com/office/drawing/2014/main" id="{323289CE-7387-407C-84A5-A734EC593A68}"/>
                </a:ext>
              </a:extLst>
            </p:cNvPr>
            <p:cNvGrpSpPr/>
            <p:nvPr/>
          </p:nvGrpSpPr>
          <p:grpSpPr>
            <a:xfrm>
              <a:off x="-204989" y="2840992"/>
              <a:ext cx="4865025" cy="2931687"/>
              <a:chOff x="-204989" y="2840991"/>
              <a:chExt cx="4865025" cy="2931687"/>
            </a:xfrm>
            <a:solidFill>
              <a:srgbClr val="FFFFFF">
                <a:alpha val="13000"/>
              </a:srgbClr>
            </a:solidFill>
          </p:grpSpPr>
          <p:sp>
            <p:nvSpPr>
              <p:cNvPr id="413" name="Freihandform 505">
                <a:extLst>
                  <a:ext uri="{FF2B5EF4-FFF2-40B4-BE49-F238E27FC236}">
                    <a16:creationId xmlns:a16="http://schemas.microsoft.com/office/drawing/2014/main" id="{B0A60F90-0F15-40C0-AAA8-FA4B2454AC6F}"/>
                  </a:ext>
                </a:extLst>
              </p:cNvPr>
              <p:cNvSpPr/>
              <p:nvPr/>
            </p:nvSpPr>
            <p:spPr>
              <a:xfrm>
                <a:off x="-194016" y="3286356"/>
                <a:ext cx="10619" cy="7080"/>
              </a:xfrm>
              <a:custGeom>
                <a:avLst/>
                <a:gdLst>
                  <a:gd name="connsiteX0" fmla="*/ 2124 w 10619"/>
                  <a:gd name="connsiteY0" fmla="*/ 7081 h 7080"/>
                  <a:gd name="connsiteX1" fmla="*/ 10619 w 10619"/>
                  <a:gd name="connsiteY1" fmla="*/ 1770 h 7080"/>
                  <a:gd name="connsiteX2" fmla="*/ 354 w 10619"/>
                  <a:gd name="connsiteY2" fmla="*/ 0 h 7080"/>
                  <a:gd name="connsiteX3" fmla="*/ 0 w 10619"/>
                  <a:gd name="connsiteY3" fmla="*/ 3894 h 7080"/>
                  <a:gd name="connsiteX4" fmla="*/ 2124 w 10619"/>
                  <a:gd name="connsiteY4" fmla="*/ 7081 h 7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19" h="7080">
                    <a:moveTo>
                      <a:pt x="2124" y="7081"/>
                    </a:moveTo>
                    <a:lnTo>
                      <a:pt x="10619" y="1770"/>
                    </a:lnTo>
                    <a:lnTo>
                      <a:pt x="354" y="0"/>
                    </a:lnTo>
                    <a:lnTo>
                      <a:pt x="0" y="3894"/>
                    </a:lnTo>
                    <a:lnTo>
                      <a:pt x="2124" y="7081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4" name="Freihandform 506">
                <a:extLst>
                  <a:ext uri="{FF2B5EF4-FFF2-40B4-BE49-F238E27FC236}">
                    <a16:creationId xmlns:a16="http://schemas.microsoft.com/office/drawing/2014/main" id="{56B7E2D0-BA2B-411B-A31B-F02738B29332}"/>
                  </a:ext>
                </a:extLst>
              </p:cNvPr>
              <p:cNvSpPr/>
              <p:nvPr/>
            </p:nvSpPr>
            <p:spPr>
              <a:xfrm>
                <a:off x="-204989" y="2972688"/>
                <a:ext cx="743346" cy="441824"/>
              </a:xfrm>
              <a:custGeom>
                <a:avLst/>
                <a:gdLst>
                  <a:gd name="connsiteX0" fmla="*/ 10973 w 743346"/>
                  <a:gd name="connsiteY0" fmla="*/ 317561 h 441824"/>
                  <a:gd name="connsiteX1" fmla="*/ 11327 w 743346"/>
                  <a:gd name="connsiteY1" fmla="*/ 313667 h 441824"/>
                  <a:gd name="connsiteX2" fmla="*/ 21592 w 743346"/>
                  <a:gd name="connsiteY2" fmla="*/ 315437 h 441824"/>
                  <a:gd name="connsiteX3" fmla="*/ 500166 w 743346"/>
                  <a:gd name="connsiteY3" fmla="*/ 11329 h 441824"/>
                  <a:gd name="connsiteX4" fmla="*/ 728833 w 743346"/>
                  <a:gd name="connsiteY4" fmla="*/ 431204 h 441824"/>
                  <a:gd name="connsiteX5" fmla="*/ 21592 w 743346"/>
                  <a:gd name="connsiteY5" fmla="*/ 315437 h 441824"/>
                  <a:gd name="connsiteX6" fmla="*/ 13097 w 743346"/>
                  <a:gd name="connsiteY6" fmla="*/ 320748 h 441824"/>
                  <a:gd name="connsiteX7" fmla="*/ 10973 w 743346"/>
                  <a:gd name="connsiteY7" fmla="*/ 317561 h 441824"/>
                  <a:gd name="connsiteX8" fmla="*/ 10265 w 743346"/>
                  <a:gd name="connsiteY8" fmla="*/ 321456 h 441824"/>
                  <a:gd name="connsiteX9" fmla="*/ 743346 w 743346"/>
                  <a:gd name="connsiteY9" fmla="*/ 441824 h 441824"/>
                  <a:gd name="connsiteX10" fmla="*/ 503352 w 743346"/>
                  <a:gd name="connsiteY10" fmla="*/ 0 h 441824"/>
                  <a:gd name="connsiteX11" fmla="*/ 0 w 743346"/>
                  <a:gd name="connsiteY11" fmla="*/ 319685 h 441824"/>
                  <a:gd name="connsiteX12" fmla="*/ 10265 w 743346"/>
                  <a:gd name="connsiteY12" fmla="*/ 321456 h 441824"/>
                  <a:gd name="connsiteX13" fmla="*/ 10973 w 743346"/>
                  <a:gd name="connsiteY13" fmla="*/ 317561 h 441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43346" h="441824">
                    <a:moveTo>
                      <a:pt x="10973" y="317561"/>
                    </a:moveTo>
                    <a:lnTo>
                      <a:pt x="11327" y="313667"/>
                    </a:lnTo>
                    <a:lnTo>
                      <a:pt x="21592" y="315437"/>
                    </a:lnTo>
                    <a:lnTo>
                      <a:pt x="500166" y="11329"/>
                    </a:lnTo>
                    <a:lnTo>
                      <a:pt x="728833" y="431204"/>
                    </a:lnTo>
                    <a:lnTo>
                      <a:pt x="21592" y="315437"/>
                    </a:lnTo>
                    <a:lnTo>
                      <a:pt x="13097" y="320748"/>
                    </a:lnTo>
                    <a:lnTo>
                      <a:pt x="10973" y="317561"/>
                    </a:lnTo>
                    <a:lnTo>
                      <a:pt x="10265" y="321456"/>
                    </a:lnTo>
                    <a:lnTo>
                      <a:pt x="743346" y="441824"/>
                    </a:lnTo>
                    <a:lnTo>
                      <a:pt x="503352" y="0"/>
                    </a:lnTo>
                    <a:lnTo>
                      <a:pt x="0" y="319685"/>
                    </a:lnTo>
                    <a:lnTo>
                      <a:pt x="10265" y="321456"/>
                    </a:lnTo>
                    <a:lnTo>
                      <a:pt x="10973" y="317561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5" name="Freihandform 507">
                <a:extLst>
                  <a:ext uri="{FF2B5EF4-FFF2-40B4-BE49-F238E27FC236}">
                    <a16:creationId xmlns:a16="http://schemas.microsoft.com/office/drawing/2014/main" id="{AD7CAB32-9D59-4614-8924-BFD3586D234D}"/>
                  </a:ext>
                </a:extLst>
              </p:cNvPr>
              <p:cNvSpPr/>
              <p:nvPr/>
            </p:nvSpPr>
            <p:spPr>
              <a:xfrm>
                <a:off x="529861" y="3404246"/>
                <a:ext cx="4955" cy="4956"/>
              </a:xfrm>
              <a:custGeom>
                <a:avLst/>
                <a:gdLst>
                  <a:gd name="connsiteX0" fmla="*/ 4956 w 4955"/>
                  <a:gd name="connsiteY0" fmla="*/ 2832 h 4956"/>
                  <a:gd name="connsiteX1" fmla="*/ 3186 w 4955"/>
                  <a:gd name="connsiteY1" fmla="*/ 0 h 4956"/>
                  <a:gd name="connsiteX2" fmla="*/ 0 w 4955"/>
                  <a:gd name="connsiteY2" fmla="*/ 1062 h 4956"/>
                  <a:gd name="connsiteX3" fmla="*/ 1416 w 4955"/>
                  <a:gd name="connsiteY3" fmla="*/ 4956 h 4956"/>
                  <a:gd name="connsiteX4" fmla="*/ 4956 w 4955"/>
                  <a:gd name="connsiteY4" fmla="*/ 2832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5" h="4956">
                    <a:moveTo>
                      <a:pt x="4956" y="2832"/>
                    </a:moveTo>
                    <a:lnTo>
                      <a:pt x="3186" y="0"/>
                    </a:lnTo>
                    <a:lnTo>
                      <a:pt x="0" y="1062"/>
                    </a:lnTo>
                    <a:lnTo>
                      <a:pt x="1416" y="4956"/>
                    </a:lnTo>
                    <a:lnTo>
                      <a:pt x="4956" y="283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6" name="Freihandform 508">
                <a:extLst>
                  <a:ext uri="{FF2B5EF4-FFF2-40B4-BE49-F238E27FC236}">
                    <a16:creationId xmlns:a16="http://schemas.microsoft.com/office/drawing/2014/main" id="{529D77E0-113F-4BEC-9FA9-0F3DEC241B3C}"/>
                  </a:ext>
                </a:extLst>
              </p:cNvPr>
              <p:cNvSpPr/>
              <p:nvPr/>
            </p:nvSpPr>
            <p:spPr>
              <a:xfrm>
                <a:off x="290220" y="2842761"/>
                <a:ext cx="1879250" cy="571397"/>
              </a:xfrm>
              <a:custGeom>
                <a:avLst/>
                <a:gdLst>
                  <a:gd name="connsiteX0" fmla="*/ 242119 w 1879250"/>
                  <a:gd name="connsiteY0" fmla="*/ 569982 h 571397"/>
                  <a:gd name="connsiteX1" fmla="*/ 241057 w 1879250"/>
                  <a:gd name="connsiteY1" fmla="*/ 566441 h 571397"/>
                  <a:gd name="connsiteX2" fmla="*/ 239641 w 1879250"/>
                  <a:gd name="connsiteY2" fmla="*/ 562547 h 571397"/>
                  <a:gd name="connsiteX3" fmla="*/ 242827 w 1879250"/>
                  <a:gd name="connsiteY3" fmla="*/ 561485 h 571397"/>
                  <a:gd name="connsiteX4" fmla="*/ 13097 w 1879250"/>
                  <a:gd name="connsiteY4" fmla="*/ 139132 h 571397"/>
                  <a:gd name="connsiteX5" fmla="*/ 1848101 w 1879250"/>
                  <a:gd name="connsiteY5" fmla="*/ 10267 h 571397"/>
                  <a:gd name="connsiteX6" fmla="*/ 242827 w 1879250"/>
                  <a:gd name="connsiteY6" fmla="*/ 561485 h 571397"/>
                  <a:gd name="connsiteX7" fmla="*/ 244596 w 1879250"/>
                  <a:gd name="connsiteY7" fmla="*/ 564317 h 571397"/>
                  <a:gd name="connsiteX8" fmla="*/ 241057 w 1879250"/>
                  <a:gd name="connsiteY8" fmla="*/ 566441 h 571397"/>
                  <a:gd name="connsiteX9" fmla="*/ 242119 w 1879250"/>
                  <a:gd name="connsiteY9" fmla="*/ 569982 h 571397"/>
                  <a:gd name="connsiteX10" fmla="*/ 1879250 w 1879250"/>
                  <a:gd name="connsiteY10" fmla="*/ 7788 h 571397"/>
                  <a:gd name="connsiteX11" fmla="*/ 1877835 w 1879250"/>
                  <a:gd name="connsiteY11" fmla="*/ 0 h 571397"/>
                  <a:gd name="connsiteX12" fmla="*/ 0 w 1879250"/>
                  <a:gd name="connsiteY12" fmla="*/ 132052 h 571397"/>
                  <a:gd name="connsiteX13" fmla="*/ 238933 w 1879250"/>
                  <a:gd name="connsiteY13" fmla="*/ 571398 h 571397"/>
                  <a:gd name="connsiteX14" fmla="*/ 242119 w 1879250"/>
                  <a:gd name="connsiteY14" fmla="*/ 569982 h 571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79250" h="571397">
                    <a:moveTo>
                      <a:pt x="242119" y="569982"/>
                    </a:moveTo>
                    <a:lnTo>
                      <a:pt x="241057" y="566441"/>
                    </a:lnTo>
                    <a:lnTo>
                      <a:pt x="239641" y="562547"/>
                    </a:lnTo>
                    <a:lnTo>
                      <a:pt x="242827" y="561485"/>
                    </a:lnTo>
                    <a:lnTo>
                      <a:pt x="13097" y="139132"/>
                    </a:lnTo>
                    <a:lnTo>
                      <a:pt x="1848101" y="10267"/>
                    </a:lnTo>
                    <a:lnTo>
                      <a:pt x="242827" y="561485"/>
                    </a:lnTo>
                    <a:lnTo>
                      <a:pt x="244596" y="564317"/>
                    </a:lnTo>
                    <a:lnTo>
                      <a:pt x="241057" y="566441"/>
                    </a:lnTo>
                    <a:lnTo>
                      <a:pt x="242119" y="569982"/>
                    </a:lnTo>
                    <a:lnTo>
                      <a:pt x="1879250" y="7788"/>
                    </a:lnTo>
                    <a:lnTo>
                      <a:pt x="1877835" y="0"/>
                    </a:lnTo>
                    <a:lnTo>
                      <a:pt x="0" y="132052"/>
                    </a:lnTo>
                    <a:lnTo>
                      <a:pt x="238933" y="571398"/>
                    </a:lnTo>
                    <a:lnTo>
                      <a:pt x="242119" y="56998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7" name="Freihandform 509">
                <a:extLst>
                  <a:ext uri="{FF2B5EF4-FFF2-40B4-BE49-F238E27FC236}">
                    <a16:creationId xmlns:a16="http://schemas.microsoft.com/office/drawing/2014/main" id="{27AC2E1D-CCCA-4F13-B196-5E8380250B57}"/>
                  </a:ext>
                </a:extLst>
              </p:cNvPr>
              <p:cNvSpPr/>
              <p:nvPr/>
            </p:nvSpPr>
            <p:spPr>
              <a:xfrm>
                <a:off x="531277" y="3404954"/>
                <a:ext cx="21946" cy="7788"/>
              </a:xfrm>
              <a:custGeom>
                <a:avLst/>
                <a:gdLst>
                  <a:gd name="connsiteX0" fmla="*/ 1062 w 21946"/>
                  <a:gd name="connsiteY0" fmla="*/ 7788 h 7788"/>
                  <a:gd name="connsiteX1" fmla="*/ 21946 w 21946"/>
                  <a:gd name="connsiteY1" fmla="*/ 708 h 7788"/>
                  <a:gd name="connsiteX2" fmla="*/ 0 w 21946"/>
                  <a:gd name="connsiteY2" fmla="*/ 0 h 7788"/>
                  <a:gd name="connsiteX3" fmla="*/ 0 w 21946"/>
                  <a:gd name="connsiteY3" fmla="*/ 4248 h 7788"/>
                  <a:gd name="connsiteX4" fmla="*/ 1062 w 21946"/>
                  <a:gd name="connsiteY4" fmla="*/ 7788 h 7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946" h="7788">
                    <a:moveTo>
                      <a:pt x="1062" y="7788"/>
                    </a:moveTo>
                    <a:lnTo>
                      <a:pt x="21946" y="708"/>
                    </a:lnTo>
                    <a:lnTo>
                      <a:pt x="0" y="0"/>
                    </a:lnTo>
                    <a:lnTo>
                      <a:pt x="0" y="4248"/>
                    </a:lnTo>
                    <a:lnTo>
                      <a:pt x="1062" y="778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8" name="Freihandform 510">
                <a:extLst>
                  <a:ext uri="{FF2B5EF4-FFF2-40B4-BE49-F238E27FC236}">
                    <a16:creationId xmlns:a16="http://schemas.microsoft.com/office/drawing/2014/main" id="{C406C13D-68DD-4AD9-8B20-C8CC96553216}"/>
                  </a:ext>
                </a:extLst>
              </p:cNvPr>
              <p:cNvSpPr/>
              <p:nvPr/>
            </p:nvSpPr>
            <p:spPr>
              <a:xfrm>
                <a:off x="296592" y="2974105"/>
                <a:ext cx="6017" cy="5664"/>
              </a:xfrm>
              <a:custGeom>
                <a:avLst/>
                <a:gdLst>
                  <a:gd name="connsiteX0" fmla="*/ 3894 w 6017"/>
                  <a:gd name="connsiteY0" fmla="*/ 5664 h 5664"/>
                  <a:gd name="connsiteX1" fmla="*/ 6018 w 6017"/>
                  <a:gd name="connsiteY1" fmla="*/ 0 h 5664"/>
                  <a:gd name="connsiteX2" fmla="*/ 0 w 6017"/>
                  <a:gd name="connsiteY2" fmla="*/ 354 h 5664"/>
                  <a:gd name="connsiteX3" fmla="*/ 0 w 6017"/>
                  <a:gd name="connsiteY3" fmla="*/ 4249 h 5664"/>
                  <a:gd name="connsiteX4" fmla="*/ 3894 w 6017"/>
                  <a:gd name="connsiteY4" fmla="*/ 5664 h 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17" h="5664">
                    <a:moveTo>
                      <a:pt x="3894" y="5664"/>
                    </a:moveTo>
                    <a:lnTo>
                      <a:pt x="6018" y="0"/>
                    </a:lnTo>
                    <a:lnTo>
                      <a:pt x="0" y="354"/>
                    </a:lnTo>
                    <a:lnTo>
                      <a:pt x="0" y="4249"/>
                    </a:lnTo>
                    <a:lnTo>
                      <a:pt x="3894" y="566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19" name="Freihandform 511">
                <a:extLst>
                  <a:ext uri="{FF2B5EF4-FFF2-40B4-BE49-F238E27FC236}">
                    <a16:creationId xmlns:a16="http://schemas.microsoft.com/office/drawing/2014/main" id="{5489A88D-D35D-451A-A2CE-6988A479558B}"/>
                  </a:ext>
                </a:extLst>
              </p:cNvPr>
              <p:cNvSpPr/>
              <p:nvPr/>
            </p:nvSpPr>
            <p:spPr>
              <a:xfrm>
                <a:off x="2952462" y="5756039"/>
                <a:ext cx="6371" cy="7434"/>
              </a:xfrm>
              <a:custGeom>
                <a:avLst/>
                <a:gdLst>
                  <a:gd name="connsiteX0" fmla="*/ 6371 w 6371"/>
                  <a:gd name="connsiteY0" fmla="*/ 708 h 7434"/>
                  <a:gd name="connsiteX1" fmla="*/ 2478 w 6371"/>
                  <a:gd name="connsiteY1" fmla="*/ 0 h 7434"/>
                  <a:gd name="connsiteX2" fmla="*/ 0 w 6371"/>
                  <a:gd name="connsiteY2" fmla="*/ 3186 h 7434"/>
                  <a:gd name="connsiteX3" fmla="*/ 5310 w 6371"/>
                  <a:gd name="connsiteY3" fmla="*/ 7434 h 7434"/>
                  <a:gd name="connsiteX4" fmla="*/ 6371 w 6371"/>
                  <a:gd name="connsiteY4" fmla="*/ 708 h 7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7434">
                    <a:moveTo>
                      <a:pt x="6371" y="708"/>
                    </a:moveTo>
                    <a:lnTo>
                      <a:pt x="2478" y="0"/>
                    </a:lnTo>
                    <a:lnTo>
                      <a:pt x="0" y="3186"/>
                    </a:lnTo>
                    <a:lnTo>
                      <a:pt x="5310" y="7434"/>
                    </a:lnTo>
                    <a:lnTo>
                      <a:pt x="6371" y="70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0" name="Freihandform 512">
                <a:extLst>
                  <a:ext uri="{FF2B5EF4-FFF2-40B4-BE49-F238E27FC236}">
                    <a16:creationId xmlns:a16="http://schemas.microsoft.com/office/drawing/2014/main" id="{94F980A7-4715-4CC6-B4C9-868EBACD650E}"/>
                  </a:ext>
                </a:extLst>
              </p:cNvPr>
              <p:cNvSpPr/>
              <p:nvPr/>
            </p:nvSpPr>
            <p:spPr>
              <a:xfrm>
                <a:off x="2046641" y="4696086"/>
                <a:ext cx="714320" cy="1076592"/>
              </a:xfrm>
              <a:custGeom>
                <a:avLst/>
                <a:gdLst>
                  <a:gd name="connsiteX0" fmla="*/ 8142 w 714320"/>
                  <a:gd name="connsiteY0" fmla="*/ 1076592 h 1076592"/>
                  <a:gd name="connsiteX1" fmla="*/ 357868 w 714320"/>
                  <a:gd name="connsiteY1" fmla="*/ 24428 h 1076592"/>
                  <a:gd name="connsiteX2" fmla="*/ 705117 w 714320"/>
                  <a:gd name="connsiteY2" fmla="*/ 1014284 h 1076592"/>
                  <a:gd name="connsiteX3" fmla="*/ 621579 w 714320"/>
                  <a:gd name="connsiteY3" fmla="*/ 1076592 h 1076592"/>
                  <a:gd name="connsiteX4" fmla="*/ 635030 w 714320"/>
                  <a:gd name="connsiteY4" fmla="*/ 1076592 h 1076592"/>
                  <a:gd name="connsiteX5" fmla="*/ 714321 w 714320"/>
                  <a:gd name="connsiteY5" fmla="*/ 1017116 h 1076592"/>
                  <a:gd name="connsiteX6" fmla="*/ 357514 w 714320"/>
                  <a:gd name="connsiteY6" fmla="*/ 0 h 1076592"/>
                  <a:gd name="connsiteX7" fmla="*/ 0 w 714320"/>
                  <a:gd name="connsiteY7" fmla="*/ 1076592 h 1076592"/>
                  <a:gd name="connsiteX8" fmla="*/ 8142 w 714320"/>
                  <a:gd name="connsiteY8" fmla="*/ 1076592 h 107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4320" h="1076592">
                    <a:moveTo>
                      <a:pt x="8142" y="1076592"/>
                    </a:moveTo>
                    <a:lnTo>
                      <a:pt x="357868" y="24428"/>
                    </a:lnTo>
                    <a:lnTo>
                      <a:pt x="705117" y="1014284"/>
                    </a:lnTo>
                    <a:lnTo>
                      <a:pt x="621579" y="1076592"/>
                    </a:lnTo>
                    <a:lnTo>
                      <a:pt x="635030" y="1076592"/>
                    </a:lnTo>
                    <a:lnTo>
                      <a:pt x="714321" y="1017116"/>
                    </a:lnTo>
                    <a:lnTo>
                      <a:pt x="357514" y="0"/>
                    </a:lnTo>
                    <a:lnTo>
                      <a:pt x="0" y="1076592"/>
                    </a:lnTo>
                    <a:lnTo>
                      <a:pt x="8142" y="107659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1" name="Freihandform 513">
                <a:extLst>
                  <a:ext uri="{FF2B5EF4-FFF2-40B4-BE49-F238E27FC236}">
                    <a16:creationId xmlns:a16="http://schemas.microsoft.com/office/drawing/2014/main" id="{998D7345-1276-46A7-A138-F01406206270}"/>
                  </a:ext>
                </a:extLst>
              </p:cNvPr>
              <p:cNvSpPr/>
              <p:nvPr/>
            </p:nvSpPr>
            <p:spPr>
              <a:xfrm>
                <a:off x="2755298" y="5711432"/>
                <a:ext cx="5309" cy="5664"/>
              </a:xfrm>
              <a:custGeom>
                <a:avLst/>
                <a:gdLst>
                  <a:gd name="connsiteX0" fmla="*/ 5310 w 5309"/>
                  <a:gd name="connsiteY0" fmla="*/ 5664 h 5664"/>
                  <a:gd name="connsiteX1" fmla="*/ 4956 w 5309"/>
                  <a:gd name="connsiteY1" fmla="*/ 0 h 5664"/>
                  <a:gd name="connsiteX2" fmla="*/ 1062 w 5309"/>
                  <a:gd name="connsiteY2" fmla="*/ 354 h 5664"/>
                  <a:gd name="connsiteX3" fmla="*/ 0 w 5309"/>
                  <a:gd name="connsiteY3" fmla="*/ 4602 h 5664"/>
                  <a:gd name="connsiteX4" fmla="*/ 5310 w 5309"/>
                  <a:gd name="connsiteY4" fmla="*/ 5664 h 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09" h="5664">
                    <a:moveTo>
                      <a:pt x="5310" y="5664"/>
                    </a:moveTo>
                    <a:lnTo>
                      <a:pt x="4956" y="0"/>
                    </a:lnTo>
                    <a:lnTo>
                      <a:pt x="1062" y="354"/>
                    </a:lnTo>
                    <a:lnTo>
                      <a:pt x="0" y="4602"/>
                    </a:lnTo>
                    <a:lnTo>
                      <a:pt x="5310" y="566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2" name="Freihandform 514">
                <a:extLst>
                  <a:ext uri="{FF2B5EF4-FFF2-40B4-BE49-F238E27FC236}">
                    <a16:creationId xmlns:a16="http://schemas.microsoft.com/office/drawing/2014/main" id="{9920404F-EDC9-4FF7-8671-62099F80E8F4}"/>
                  </a:ext>
                </a:extLst>
              </p:cNvPr>
              <p:cNvSpPr/>
              <p:nvPr/>
            </p:nvSpPr>
            <p:spPr>
              <a:xfrm>
                <a:off x="530923" y="3405308"/>
                <a:ext cx="29025" cy="8496"/>
              </a:xfrm>
              <a:custGeom>
                <a:avLst/>
                <a:gdLst>
                  <a:gd name="connsiteX0" fmla="*/ 0 w 29025"/>
                  <a:gd name="connsiteY0" fmla="*/ 7788 h 8496"/>
                  <a:gd name="connsiteX1" fmla="*/ 29026 w 29025"/>
                  <a:gd name="connsiteY1" fmla="*/ 8497 h 8496"/>
                  <a:gd name="connsiteX2" fmla="*/ 1416 w 29025"/>
                  <a:gd name="connsiteY2" fmla="*/ 0 h 8496"/>
                  <a:gd name="connsiteX3" fmla="*/ 354 w 29025"/>
                  <a:gd name="connsiteY3" fmla="*/ 3894 h 8496"/>
                  <a:gd name="connsiteX4" fmla="*/ 0 w 29025"/>
                  <a:gd name="connsiteY4" fmla="*/ 7788 h 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25" h="8496">
                    <a:moveTo>
                      <a:pt x="0" y="7788"/>
                    </a:moveTo>
                    <a:lnTo>
                      <a:pt x="29026" y="8497"/>
                    </a:lnTo>
                    <a:lnTo>
                      <a:pt x="1416" y="0"/>
                    </a:lnTo>
                    <a:lnTo>
                      <a:pt x="354" y="3894"/>
                    </a:lnTo>
                    <a:lnTo>
                      <a:pt x="0" y="778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3" name="Freihandform 515">
                <a:extLst>
                  <a:ext uri="{FF2B5EF4-FFF2-40B4-BE49-F238E27FC236}">
                    <a16:creationId xmlns:a16="http://schemas.microsoft.com/office/drawing/2014/main" id="{DA480A03-C7B5-435D-A6A6-1E546F34CF2E}"/>
                  </a:ext>
                </a:extLst>
              </p:cNvPr>
              <p:cNvSpPr/>
              <p:nvPr/>
            </p:nvSpPr>
            <p:spPr>
              <a:xfrm>
                <a:off x="2403448" y="3989097"/>
                <a:ext cx="4601" cy="4248"/>
              </a:xfrm>
              <a:custGeom>
                <a:avLst/>
                <a:gdLst>
                  <a:gd name="connsiteX0" fmla="*/ 3894 w 4601"/>
                  <a:gd name="connsiteY0" fmla="*/ 4248 h 4248"/>
                  <a:gd name="connsiteX1" fmla="*/ 4601 w 4601"/>
                  <a:gd name="connsiteY1" fmla="*/ 1062 h 4248"/>
                  <a:gd name="connsiteX2" fmla="*/ 1416 w 4601"/>
                  <a:gd name="connsiteY2" fmla="*/ 0 h 4248"/>
                  <a:gd name="connsiteX3" fmla="*/ 0 w 4601"/>
                  <a:gd name="connsiteY3" fmla="*/ 3894 h 4248"/>
                  <a:gd name="connsiteX4" fmla="*/ 3894 w 4601"/>
                  <a:gd name="connsiteY4" fmla="*/ 4248 h 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01" h="4248">
                    <a:moveTo>
                      <a:pt x="3894" y="4248"/>
                    </a:moveTo>
                    <a:lnTo>
                      <a:pt x="4601" y="1062"/>
                    </a:lnTo>
                    <a:lnTo>
                      <a:pt x="1416" y="0"/>
                    </a:lnTo>
                    <a:lnTo>
                      <a:pt x="0" y="3894"/>
                    </a:lnTo>
                    <a:lnTo>
                      <a:pt x="3894" y="424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4" name="Freihandform 516">
                <a:extLst>
                  <a:ext uri="{FF2B5EF4-FFF2-40B4-BE49-F238E27FC236}">
                    <a16:creationId xmlns:a16="http://schemas.microsoft.com/office/drawing/2014/main" id="{C6980586-A2B0-4AB4-AFE0-2B71AAC5432C}"/>
                  </a:ext>
                </a:extLst>
              </p:cNvPr>
              <p:cNvSpPr/>
              <p:nvPr/>
            </p:nvSpPr>
            <p:spPr>
              <a:xfrm>
                <a:off x="2399554" y="3991929"/>
                <a:ext cx="101944" cy="717256"/>
              </a:xfrm>
              <a:custGeom>
                <a:avLst/>
                <a:gdLst>
                  <a:gd name="connsiteX0" fmla="*/ 8495 w 101944"/>
                  <a:gd name="connsiteY0" fmla="*/ 717256 h 717256"/>
                  <a:gd name="connsiteX1" fmla="*/ 101945 w 101944"/>
                  <a:gd name="connsiteY1" fmla="*/ 315791 h 717256"/>
                  <a:gd name="connsiteX2" fmla="*/ 7788 w 101944"/>
                  <a:gd name="connsiteY2" fmla="*/ 0 h 717256"/>
                  <a:gd name="connsiteX3" fmla="*/ 0 w 101944"/>
                  <a:gd name="connsiteY3" fmla="*/ 1062 h 717256"/>
                  <a:gd name="connsiteX4" fmla="*/ 3894 w 101944"/>
                  <a:gd name="connsiteY4" fmla="*/ 1062 h 717256"/>
                  <a:gd name="connsiteX5" fmla="*/ 7788 w 101944"/>
                  <a:gd name="connsiteY5" fmla="*/ 708 h 717256"/>
                  <a:gd name="connsiteX6" fmla="*/ 8142 w 101944"/>
                  <a:gd name="connsiteY6" fmla="*/ 28676 h 717256"/>
                  <a:gd name="connsiteX7" fmla="*/ 93449 w 101944"/>
                  <a:gd name="connsiteY7" fmla="*/ 316499 h 717256"/>
                  <a:gd name="connsiteX8" fmla="*/ 8495 w 101944"/>
                  <a:gd name="connsiteY8" fmla="*/ 681854 h 717256"/>
                  <a:gd name="connsiteX9" fmla="*/ 8142 w 101944"/>
                  <a:gd name="connsiteY9" fmla="*/ 28676 h 717256"/>
                  <a:gd name="connsiteX10" fmla="*/ 0 w 101944"/>
                  <a:gd name="connsiteY10" fmla="*/ 2124 h 717256"/>
                  <a:gd name="connsiteX11" fmla="*/ 3894 w 101944"/>
                  <a:gd name="connsiteY11" fmla="*/ 1062 h 717256"/>
                  <a:gd name="connsiteX12" fmla="*/ 0 w 101944"/>
                  <a:gd name="connsiteY12" fmla="*/ 1062 h 717256"/>
                  <a:gd name="connsiteX13" fmla="*/ 708 w 101944"/>
                  <a:gd name="connsiteY13" fmla="*/ 716194 h 717256"/>
                  <a:gd name="connsiteX14" fmla="*/ 8495 w 101944"/>
                  <a:gd name="connsiteY14" fmla="*/ 717256 h 717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1944" h="717256">
                    <a:moveTo>
                      <a:pt x="8495" y="717256"/>
                    </a:moveTo>
                    <a:lnTo>
                      <a:pt x="101945" y="315791"/>
                    </a:lnTo>
                    <a:lnTo>
                      <a:pt x="7788" y="0"/>
                    </a:lnTo>
                    <a:lnTo>
                      <a:pt x="0" y="1062"/>
                    </a:lnTo>
                    <a:lnTo>
                      <a:pt x="3894" y="1062"/>
                    </a:lnTo>
                    <a:lnTo>
                      <a:pt x="7788" y="708"/>
                    </a:lnTo>
                    <a:lnTo>
                      <a:pt x="8142" y="28676"/>
                    </a:lnTo>
                    <a:lnTo>
                      <a:pt x="93449" y="316499"/>
                    </a:lnTo>
                    <a:lnTo>
                      <a:pt x="8495" y="681854"/>
                    </a:lnTo>
                    <a:lnTo>
                      <a:pt x="8142" y="28676"/>
                    </a:lnTo>
                    <a:lnTo>
                      <a:pt x="0" y="2124"/>
                    </a:lnTo>
                    <a:lnTo>
                      <a:pt x="3894" y="1062"/>
                    </a:lnTo>
                    <a:lnTo>
                      <a:pt x="0" y="1062"/>
                    </a:lnTo>
                    <a:lnTo>
                      <a:pt x="708" y="716194"/>
                    </a:lnTo>
                    <a:lnTo>
                      <a:pt x="8495" y="71725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5" name="Freihandform 517">
                <a:extLst>
                  <a:ext uri="{FF2B5EF4-FFF2-40B4-BE49-F238E27FC236}">
                    <a16:creationId xmlns:a16="http://schemas.microsoft.com/office/drawing/2014/main" id="{6D994DCE-6F34-4DBF-9F5F-787B2D68E05D}"/>
                  </a:ext>
                </a:extLst>
              </p:cNvPr>
              <p:cNvSpPr/>
              <p:nvPr/>
            </p:nvSpPr>
            <p:spPr>
              <a:xfrm>
                <a:off x="2399554" y="3992637"/>
                <a:ext cx="8141" cy="27967"/>
              </a:xfrm>
              <a:custGeom>
                <a:avLst/>
                <a:gdLst>
                  <a:gd name="connsiteX0" fmla="*/ 7788 w 8141"/>
                  <a:gd name="connsiteY0" fmla="*/ 0 h 27967"/>
                  <a:gd name="connsiteX1" fmla="*/ 3894 w 8141"/>
                  <a:gd name="connsiteY1" fmla="*/ 354 h 27967"/>
                  <a:gd name="connsiteX2" fmla="*/ 0 w 8141"/>
                  <a:gd name="connsiteY2" fmla="*/ 1416 h 27967"/>
                  <a:gd name="connsiteX3" fmla="*/ 8142 w 8141"/>
                  <a:gd name="connsiteY3" fmla="*/ 27968 h 27967"/>
                  <a:gd name="connsiteX4" fmla="*/ 7788 w 8141"/>
                  <a:gd name="connsiteY4" fmla="*/ 0 h 27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141" h="27967">
                    <a:moveTo>
                      <a:pt x="7788" y="0"/>
                    </a:moveTo>
                    <a:lnTo>
                      <a:pt x="3894" y="354"/>
                    </a:lnTo>
                    <a:lnTo>
                      <a:pt x="0" y="1416"/>
                    </a:lnTo>
                    <a:lnTo>
                      <a:pt x="8142" y="27968"/>
                    </a:lnTo>
                    <a:lnTo>
                      <a:pt x="7788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6" name="Freihandform 518">
                <a:extLst>
                  <a:ext uri="{FF2B5EF4-FFF2-40B4-BE49-F238E27FC236}">
                    <a16:creationId xmlns:a16="http://schemas.microsoft.com/office/drawing/2014/main" id="{2F270641-9058-4EAE-9D57-044499485C2C}"/>
                  </a:ext>
                </a:extLst>
              </p:cNvPr>
              <p:cNvSpPr/>
              <p:nvPr/>
            </p:nvSpPr>
            <p:spPr>
              <a:xfrm>
                <a:off x="2397430" y="3986618"/>
                <a:ext cx="1013782" cy="360044"/>
              </a:xfrm>
              <a:custGeom>
                <a:avLst/>
                <a:gdLst>
                  <a:gd name="connsiteX0" fmla="*/ 99821 w 1013782"/>
                  <a:gd name="connsiteY0" fmla="*/ 325350 h 360044"/>
                  <a:gd name="connsiteX1" fmla="*/ 99821 w 1013782"/>
                  <a:gd name="connsiteY1" fmla="*/ 321456 h 360044"/>
                  <a:gd name="connsiteX2" fmla="*/ 100175 w 1013782"/>
                  <a:gd name="connsiteY2" fmla="*/ 317561 h 360044"/>
                  <a:gd name="connsiteX3" fmla="*/ 103006 w 1013782"/>
                  <a:gd name="connsiteY3" fmla="*/ 317561 h 360044"/>
                  <a:gd name="connsiteX4" fmla="*/ 12035 w 1013782"/>
                  <a:gd name="connsiteY4" fmla="*/ 12745 h 360044"/>
                  <a:gd name="connsiteX5" fmla="*/ 985819 w 1013782"/>
                  <a:gd name="connsiteY5" fmla="*/ 350839 h 360044"/>
                  <a:gd name="connsiteX6" fmla="*/ 103006 w 1013782"/>
                  <a:gd name="connsiteY6" fmla="*/ 317561 h 360044"/>
                  <a:gd name="connsiteX7" fmla="*/ 103715 w 1013782"/>
                  <a:gd name="connsiteY7" fmla="*/ 320393 h 360044"/>
                  <a:gd name="connsiteX8" fmla="*/ 99821 w 1013782"/>
                  <a:gd name="connsiteY8" fmla="*/ 321456 h 360044"/>
                  <a:gd name="connsiteX9" fmla="*/ 99821 w 1013782"/>
                  <a:gd name="connsiteY9" fmla="*/ 325350 h 360044"/>
                  <a:gd name="connsiteX10" fmla="*/ 1012013 w 1013782"/>
                  <a:gd name="connsiteY10" fmla="*/ 360045 h 360044"/>
                  <a:gd name="connsiteX11" fmla="*/ 1013783 w 1013782"/>
                  <a:gd name="connsiteY11" fmla="*/ 352256 h 360044"/>
                  <a:gd name="connsiteX12" fmla="*/ 0 w 1013782"/>
                  <a:gd name="connsiteY12" fmla="*/ 0 h 360044"/>
                  <a:gd name="connsiteX13" fmla="*/ 96989 w 1013782"/>
                  <a:gd name="connsiteY13" fmla="*/ 325350 h 360044"/>
                  <a:gd name="connsiteX14" fmla="*/ 99821 w 1013782"/>
                  <a:gd name="connsiteY14" fmla="*/ 325350 h 360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13782" h="360044">
                    <a:moveTo>
                      <a:pt x="99821" y="325350"/>
                    </a:moveTo>
                    <a:lnTo>
                      <a:pt x="99821" y="321456"/>
                    </a:lnTo>
                    <a:lnTo>
                      <a:pt x="100175" y="317561"/>
                    </a:lnTo>
                    <a:lnTo>
                      <a:pt x="103006" y="317561"/>
                    </a:lnTo>
                    <a:lnTo>
                      <a:pt x="12035" y="12745"/>
                    </a:lnTo>
                    <a:lnTo>
                      <a:pt x="985819" y="350839"/>
                    </a:lnTo>
                    <a:lnTo>
                      <a:pt x="103006" y="317561"/>
                    </a:lnTo>
                    <a:lnTo>
                      <a:pt x="103715" y="320393"/>
                    </a:lnTo>
                    <a:lnTo>
                      <a:pt x="99821" y="321456"/>
                    </a:lnTo>
                    <a:lnTo>
                      <a:pt x="99821" y="325350"/>
                    </a:lnTo>
                    <a:lnTo>
                      <a:pt x="1012013" y="360045"/>
                    </a:lnTo>
                    <a:lnTo>
                      <a:pt x="1013783" y="352256"/>
                    </a:lnTo>
                    <a:lnTo>
                      <a:pt x="0" y="0"/>
                    </a:lnTo>
                    <a:lnTo>
                      <a:pt x="96989" y="325350"/>
                    </a:lnTo>
                    <a:lnTo>
                      <a:pt x="99821" y="32535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7" name="Freihandform 519">
                <a:extLst>
                  <a:ext uri="{FF2B5EF4-FFF2-40B4-BE49-F238E27FC236}">
                    <a16:creationId xmlns:a16="http://schemas.microsoft.com/office/drawing/2014/main" id="{A9422535-FEBB-4BCC-88AD-F6398A6172DF}"/>
                  </a:ext>
                </a:extLst>
              </p:cNvPr>
              <p:cNvSpPr/>
              <p:nvPr/>
            </p:nvSpPr>
            <p:spPr>
              <a:xfrm>
                <a:off x="2497251" y="4304180"/>
                <a:ext cx="3893" cy="3894"/>
              </a:xfrm>
              <a:custGeom>
                <a:avLst/>
                <a:gdLst>
                  <a:gd name="connsiteX0" fmla="*/ 3894 w 3893"/>
                  <a:gd name="connsiteY0" fmla="*/ 2832 h 3894"/>
                  <a:gd name="connsiteX1" fmla="*/ 3185 w 3893"/>
                  <a:gd name="connsiteY1" fmla="*/ 0 h 3894"/>
                  <a:gd name="connsiteX2" fmla="*/ 354 w 3893"/>
                  <a:gd name="connsiteY2" fmla="*/ 0 h 3894"/>
                  <a:gd name="connsiteX3" fmla="*/ 0 w 3893"/>
                  <a:gd name="connsiteY3" fmla="*/ 3894 h 3894"/>
                  <a:gd name="connsiteX4" fmla="*/ 3894 w 3893"/>
                  <a:gd name="connsiteY4" fmla="*/ 2832 h 3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93" h="3894">
                    <a:moveTo>
                      <a:pt x="3894" y="2832"/>
                    </a:moveTo>
                    <a:lnTo>
                      <a:pt x="3185" y="0"/>
                    </a:lnTo>
                    <a:lnTo>
                      <a:pt x="354" y="0"/>
                    </a:lnTo>
                    <a:lnTo>
                      <a:pt x="0" y="3894"/>
                    </a:lnTo>
                    <a:lnTo>
                      <a:pt x="3894" y="283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8" name="Freihandform 520">
                <a:extLst>
                  <a:ext uri="{FF2B5EF4-FFF2-40B4-BE49-F238E27FC236}">
                    <a16:creationId xmlns:a16="http://schemas.microsoft.com/office/drawing/2014/main" id="{FB5EF243-F1B1-4FCF-A89A-782524049DCD}"/>
                  </a:ext>
                </a:extLst>
              </p:cNvPr>
              <p:cNvSpPr/>
              <p:nvPr/>
            </p:nvSpPr>
            <p:spPr>
              <a:xfrm>
                <a:off x="2403802" y="4703875"/>
                <a:ext cx="5663" cy="5310"/>
              </a:xfrm>
              <a:custGeom>
                <a:avLst/>
                <a:gdLst>
                  <a:gd name="connsiteX0" fmla="*/ 4248 w 5663"/>
                  <a:gd name="connsiteY0" fmla="*/ 5310 h 5310"/>
                  <a:gd name="connsiteX1" fmla="*/ 5664 w 5663"/>
                  <a:gd name="connsiteY1" fmla="*/ 0 h 5310"/>
                  <a:gd name="connsiteX2" fmla="*/ 0 w 5663"/>
                  <a:gd name="connsiteY2" fmla="*/ 354 h 5310"/>
                  <a:gd name="connsiteX3" fmla="*/ 354 w 5663"/>
                  <a:gd name="connsiteY3" fmla="*/ 4603 h 5310"/>
                  <a:gd name="connsiteX4" fmla="*/ 4248 w 5663"/>
                  <a:gd name="connsiteY4" fmla="*/ 5310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5310">
                    <a:moveTo>
                      <a:pt x="4248" y="5310"/>
                    </a:moveTo>
                    <a:lnTo>
                      <a:pt x="5664" y="0"/>
                    </a:lnTo>
                    <a:lnTo>
                      <a:pt x="0" y="354"/>
                    </a:lnTo>
                    <a:lnTo>
                      <a:pt x="354" y="4603"/>
                    </a:lnTo>
                    <a:lnTo>
                      <a:pt x="4248" y="531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29" name="Freihandform 521">
                <a:extLst>
                  <a:ext uri="{FF2B5EF4-FFF2-40B4-BE49-F238E27FC236}">
                    <a16:creationId xmlns:a16="http://schemas.microsoft.com/office/drawing/2014/main" id="{1A140E5E-69ED-42EF-82CD-71BD2C21F19C}"/>
                  </a:ext>
                </a:extLst>
              </p:cNvPr>
              <p:cNvSpPr/>
              <p:nvPr/>
            </p:nvSpPr>
            <p:spPr>
              <a:xfrm>
                <a:off x="2399200" y="4299223"/>
                <a:ext cx="398575" cy="413501"/>
              </a:xfrm>
              <a:custGeom>
                <a:avLst/>
                <a:gdLst>
                  <a:gd name="connsiteX0" fmla="*/ 5310 w 398575"/>
                  <a:gd name="connsiteY0" fmla="*/ 412794 h 413501"/>
                  <a:gd name="connsiteX1" fmla="*/ 4956 w 398575"/>
                  <a:gd name="connsiteY1" fmla="*/ 409254 h 413501"/>
                  <a:gd name="connsiteX2" fmla="*/ 4602 w 398575"/>
                  <a:gd name="connsiteY2" fmla="*/ 405006 h 413501"/>
                  <a:gd name="connsiteX3" fmla="*/ 10265 w 398575"/>
                  <a:gd name="connsiteY3" fmla="*/ 404651 h 413501"/>
                  <a:gd name="connsiteX4" fmla="*/ 100175 w 398575"/>
                  <a:gd name="connsiteY4" fmla="*/ 17701 h 413501"/>
                  <a:gd name="connsiteX5" fmla="*/ 383001 w 398575"/>
                  <a:gd name="connsiteY5" fmla="*/ 365001 h 413501"/>
                  <a:gd name="connsiteX6" fmla="*/ 10265 w 398575"/>
                  <a:gd name="connsiteY6" fmla="*/ 404651 h 413501"/>
                  <a:gd name="connsiteX7" fmla="*/ 8849 w 398575"/>
                  <a:gd name="connsiteY7" fmla="*/ 409962 h 413501"/>
                  <a:gd name="connsiteX8" fmla="*/ 4956 w 398575"/>
                  <a:gd name="connsiteY8" fmla="*/ 409254 h 413501"/>
                  <a:gd name="connsiteX9" fmla="*/ 5310 w 398575"/>
                  <a:gd name="connsiteY9" fmla="*/ 412794 h 413501"/>
                  <a:gd name="connsiteX10" fmla="*/ 398575 w 398575"/>
                  <a:gd name="connsiteY10" fmla="*/ 371727 h 413501"/>
                  <a:gd name="connsiteX11" fmla="*/ 95927 w 398575"/>
                  <a:gd name="connsiteY11" fmla="*/ 0 h 413501"/>
                  <a:gd name="connsiteX12" fmla="*/ 0 w 398575"/>
                  <a:gd name="connsiteY12" fmla="*/ 413502 h 413501"/>
                  <a:gd name="connsiteX13" fmla="*/ 5310 w 398575"/>
                  <a:gd name="connsiteY13" fmla="*/ 412794 h 413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98575" h="413501">
                    <a:moveTo>
                      <a:pt x="5310" y="412794"/>
                    </a:moveTo>
                    <a:lnTo>
                      <a:pt x="4956" y="409254"/>
                    </a:lnTo>
                    <a:lnTo>
                      <a:pt x="4602" y="405006"/>
                    </a:lnTo>
                    <a:lnTo>
                      <a:pt x="10265" y="404651"/>
                    </a:lnTo>
                    <a:lnTo>
                      <a:pt x="100175" y="17701"/>
                    </a:lnTo>
                    <a:lnTo>
                      <a:pt x="383001" y="365001"/>
                    </a:lnTo>
                    <a:lnTo>
                      <a:pt x="10265" y="404651"/>
                    </a:lnTo>
                    <a:lnTo>
                      <a:pt x="8849" y="409962"/>
                    </a:lnTo>
                    <a:lnTo>
                      <a:pt x="4956" y="409254"/>
                    </a:lnTo>
                    <a:lnTo>
                      <a:pt x="5310" y="412794"/>
                    </a:lnTo>
                    <a:lnTo>
                      <a:pt x="398575" y="371727"/>
                    </a:lnTo>
                    <a:lnTo>
                      <a:pt x="95927" y="0"/>
                    </a:lnTo>
                    <a:lnTo>
                      <a:pt x="0" y="413502"/>
                    </a:lnTo>
                    <a:lnTo>
                      <a:pt x="5310" y="41279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0" name="Freihandform 522">
                <a:extLst>
                  <a:ext uri="{FF2B5EF4-FFF2-40B4-BE49-F238E27FC236}">
                    <a16:creationId xmlns:a16="http://schemas.microsoft.com/office/drawing/2014/main" id="{D81329F7-6243-47B5-BE8C-C569A3B1CFE1}"/>
                  </a:ext>
                </a:extLst>
              </p:cNvPr>
              <p:cNvSpPr/>
              <p:nvPr/>
            </p:nvSpPr>
            <p:spPr>
              <a:xfrm>
                <a:off x="2788218" y="4662808"/>
                <a:ext cx="4955" cy="4956"/>
              </a:xfrm>
              <a:custGeom>
                <a:avLst/>
                <a:gdLst>
                  <a:gd name="connsiteX0" fmla="*/ 4956 w 4955"/>
                  <a:gd name="connsiteY0" fmla="*/ 2124 h 4956"/>
                  <a:gd name="connsiteX1" fmla="*/ 3186 w 4955"/>
                  <a:gd name="connsiteY1" fmla="*/ 0 h 4956"/>
                  <a:gd name="connsiteX2" fmla="*/ 0 w 4955"/>
                  <a:gd name="connsiteY2" fmla="*/ 1416 h 4956"/>
                  <a:gd name="connsiteX3" fmla="*/ 2124 w 4955"/>
                  <a:gd name="connsiteY3" fmla="*/ 4956 h 4956"/>
                  <a:gd name="connsiteX4" fmla="*/ 4956 w 4955"/>
                  <a:gd name="connsiteY4" fmla="*/ 2124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5" h="4956">
                    <a:moveTo>
                      <a:pt x="4956" y="2124"/>
                    </a:moveTo>
                    <a:lnTo>
                      <a:pt x="3186" y="0"/>
                    </a:lnTo>
                    <a:lnTo>
                      <a:pt x="0" y="1416"/>
                    </a:lnTo>
                    <a:lnTo>
                      <a:pt x="2124" y="4956"/>
                    </a:lnTo>
                    <a:lnTo>
                      <a:pt x="4956" y="212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1" name="Freihandform 523">
                <a:extLst>
                  <a:ext uri="{FF2B5EF4-FFF2-40B4-BE49-F238E27FC236}">
                    <a16:creationId xmlns:a16="http://schemas.microsoft.com/office/drawing/2014/main" id="{204D0C87-80C9-4824-98DF-18E3399B0227}"/>
                  </a:ext>
                </a:extLst>
              </p:cNvPr>
              <p:cNvSpPr/>
              <p:nvPr/>
            </p:nvSpPr>
            <p:spPr>
              <a:xfrm>
                <a:off x="2488756" y="4303825"/>
                <a:ext cx="936262" cy="368895"/>
              </a:xfrm>
              <a:custGeom>
                <a:avLst/>
                <a:gdLst>
                  <a:gd name="connsiteX0" fmla="*/ 303002 w 936262"/>
                  <a:gd name="connsiteY0" fmla="*/ 367479 h 368895"/>
                  <a:gd name="connsiteX1" fmla="*/ 301586 w 936262"/>
                  <a:gd name="connsiteY1" fmla="*/ 363939 h 368895"/>
                  <a:gd name="connsiteX2" fmla="*/ 299462 w 936262"/>
                  <a:gd name="connsiteY2" fmla="*/ 360398 h 368895"/>
                  <a:gd name="connsiteX3" fmla="*/ 302648 w 936262"/>
                  <a:gd name="connsiteY3" fmla="*/ 358982 h 368895"/>
                  <a:gd name="connsiteX4" fmla="*/ 17345 w 936262"/>
                  <a:gd name="connsiteY4" fmla="*/ 8497 h 368895"/>
                  <a:gd name="connsiteX5" fmla="*/ 905821 w 936262"/>
                  <a:gd name="connsiteY5" fmla="*/ 42129 h 368895"/>
                  <a:gd name="connsiteX6" fmla="*/ 302648 w 936262"/>
                  <a:gd name="connsiteY6" fmla="*/ 358982 h 368895"/>
                  <a:gd name="connsiteX7" fmla="*/ 304418 w 936262"/>
                  <a:gd name="connsiteY7" fmla="*/ 361106 h 368895"/>
                  <a:gd name="connsiteX8" fmla="*/ 301586 w 936262"/>
                  <a:gd name="connsiteY8" fmla="*/ 363939 h 368895"/>
                  <a:gd name="connsiteX9" fmla="*/ 303002 w 936262"/>
                  <a:gd name="connsiteY9" fmla="*/ 367479 h 368895"/>
                  <a:gd name="connsiteX10" fmla="*/ 936262 w 936262"/>
                  <a:gd name="connsiteY10" fmla="*/ 35049 h 368895"/>
                  <a:gd name="connsiteX11" fmla="*/ 0 w 936262"/>
                  <a:gd name="connsiteY11" fmla="*/ 0 h 368895"/>
                  <a:gd name="connsiteX12" fmla="*/ 300170 w 936262"/>
                  <a:gd name="connsiteY12" fmla="*/ 368895 h 368895"/>
                  <a:gd name="connsiteX13" fmla="*/ 303002 w 936262"/>
                  <a:gd name="connsiteY13" fmla="*/ 367479 h 368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36262" h="368895">
                    <a:moveTo>
                      <a:pt x="303002" y="367479"/>
                    </a:moveTo>
                    <a:lnTo>
                      <a:pt x="301586" y="363939"/>
                    </a:lnTo>
                    <a:lnTo>
                      <a:pt x="299462" y="360398"/>
                    </a:lnTo>
                    <a:lnTo>
                      <a:pt x="302648" y="358982"/>
                    </a:lnTo>
                    <a:lnTo>
                      <a:pt x="17345" y="8497"/>
                    </a:lnTo>
                    <a:lnTo>
                      <a:pt x="905821" y="42129"/>
                    </a:lnTo>
                    <a:lnTo>
                      <a:pt x="302648" y="358982"/>
                    </a:lnTo>
                    <a:lnTo>
                      <a:pt x="304418" y="361106"/>
                    </a:lnTo>
                    <a:lnTo>
                      <a:pt x="301586" y="363939"/>
                    </a:lnTo>
                    <a:lnTo>
                      <a:pt x="303002" y="367479"/>
                    </a:lnTo>
                    <a:lnTo>
                      <a:pt x="936262" y="35049"/>
                    </a:lnTo>
                    <a:lnTo>
                      <a:pt x="0" y="0"/>
                    </a:lnTo>
                    <a:lnTo>
                      <a:pt x="300170" y="368895"/>
                    </a:lnTo>
                    <a:lnTo>
                      <a:pt x="303002" y="367479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2" name="Freihandform 524">
                <a:extLst>
                  <a:ext uri="{FF2B5EF4-FFF2-40B4-BE49-F238E27FC236}">
                    <a16:creationId xmlns:a16="http://schemas.microsoft.com/office/drawing/2014/main" id="{A955C113-0389-4741-BFD7-3D3BB8733F09}"/>
                  </a:ext>
                </a:extLst>
              </p:cNvPr>
              <p:cNvSpPr/>
              <p:nvPr/>
            </p:nvSpPr>
            <p:spPr>
              <a:xfrm>
                <a:off x="2404156" y="4707061"/>
                <a:ext cx="5663" cy="4956"/>
              </a:xfrm>
              <a:custGeom>
                <a:avLst/>
                <a:gdLst>
                  <a:gd name="connsiteX0" fmla="*/ 5664 w 5663"/>
                  <a:gd name="connsiteY0" fmla="*/ 4603 h 4956"/>
                  <a:gd name="connsiteX1" fmla="*/ 3894 w 5663"/>
                  <a:gd name="connsiteY1" fmla="*/ 0 h 4956"/>
                  <a:gd name="connsiteX2" fmla="*/ 0 w 5663"/>
                  <a:gd name="connsiteY2" fmla="*/ 1416 h 4956"/>
                  <a:gd name="connsiteX3" fmla="*/ 354 w 5663"/>
                  <a:gd name="connsiteY3" fmla="*/ 4956 h 4956"/>
                  <a:gd name="connsiteX4" fmla="*/ 5664 w 5663"/>
                  <a:gd name="connsiteY4" fmla="*/ 4603 h 4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4956">
                    <a:moveTo>
                      <a:pt x="5664" y="4603"/>
                    </a:moveTo>
                    <a:lnTo>
                      <a:pt x="3894" y="0"/>
                    </a:lnTo>
                    <a:lnTo>
                      <a:pt x="0" y="1416"/>
                    </a:lnTo>
                    <a:lnTo>
                      <a:pt x="354" y="4956"/>
                    </a:lnTo>
                    <a:lnTo>
                      <a:pt x="5664" y="4603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3" name="Freihandform 525">
                <a:extLst>
                  <a:ext uri="{FF2B5EF4-FFF2-40B4-BE49-F238E27FC236}">
                    <a16:creationId xmlns:a16="http://schemas.microsoft.com/office/drawing/2014/main" id="{38A14757-0048-419C-AD14-9B05D097B2F4}"/>
                  </a:ext>
                </a:extLst>
              </p:cNvPr>
              <p:cNvSpPr/>
              <p:nvPr/>
            </p:nvSpPr>
            <p:spPr>
              <a:xfrm>
                <a:off x="2398846" y="4663162"/>
                <a:ext cx="395389" cy="1050040"/>
              </a:xfrm>
              <a:custGeom>
                <a:avLst/>
                <a:gdLst>
                  <a:gd name="connsiteX0" fmla="*/ 5310 w 395389"/>
                  <a:gd name="connsiteY0" fmla="*/ 45315 h 1050040"/>
                  <a:gd name="connsiteX1" fmla="*/ 9203 w 395389"/>
                  <a:gd name="connsiteY1" fmla="*/ 43899 h 1050040"/>
                  <a:gd name="connsiteX2" fmla="*/ 10973 w 395389"/>
                  <a:gd name="connsiteY2" fmla="*/ 48502 h 1050040"/>
                  <a:gd name="connsiteX3" fmla="*/ 387248 w 395389"/>
                  <a:gd name="connsiteY3" fmla="*/ 9205 h 1050040"/>
                  <a:gd name="connsiteX4" fmla="*/ 354328 w 395389"/>
                  <a:gd name="connsiteY4" fmla="*/ 1027383 h 1050040"/>
                  <a:gd name="connsiteX5" fmla="*/ 10973 w 395389"/>
                  <a:gd name="connsiteY5" fmla="*/ 48502 h 1050040"/>
                  <a:gd name="connsiteX6" fmla="*/ 5664 w 395389"/>
                  <a:gd name="connsiteY6" fmla="*/ 48856 h 1050040"/>
                  <a:gd name="connsiteX7" fmla="*/ 5310 w 395389"/>
                  <a:gd name="connsiteY7" fmla="*/ 45315 h 1050040"/>
                  <a:gd name="connsiteX8" fmla="*/ 1770 w 395389"/>
                  <a:gd name="connsiteY8" fmla="*/ 46378 h 1050040"/>
                  <a:gd name="connsiteX9" fmla="*/ 353621 w 395389"/>
                  <a:gd name="connsiteY9" fmla="*/ 1050041 h 1050040"/>
                  <a:gd name="connsiteX10" fmla="*/ 361408 w 395389"/>
                  <a:gd name="connsiteY10" fmla="*/ 1048979 h 1050040"/>
                  <a:gd name="connsiteX11" fmla="*/ 395389 w 395389"/>
                  <a:gd name="connsiteY11" fmla="*/ 0 h 1050040"/>
                  <a:gd name="connsiteX12" fmla="*/ 0 w 395389"/>
                  <a:gd name="connsiteY12" fmla="*/ 41421 h 1050040"/>
                  <a:gd name="connsiteX13" fmla="*/ 1770 w 395389"/>
                  <a:gd name="connsiteY13" fmla="*/ 46378 h 1050040"/>
                  <a:gd name="connsiteX14" fmla="*/ 5310 w 395389"/>
                  <a:gd name="connsiteY14" fmla="*/ 45315 h 1050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5389" h="1050040">
                    <a:moveTo>
                      <a:pt x="5310" y="45315"/>
                    </a:moveTo>
                    <a:lnTo>
                      <a:pt x="9203" y="43899"/>
                    </a:lnTo>
                    <a:lnTo>
                      <a:pt x="10973" y="48502"/>
                    </a:lnTo>
                    <a:lnTo>
                      <a:pt x="387248" y="9205"/>
                    </a:lnTo>
                    <a:lnTo>
                      <a:pt x="354328" y="1027383"/>
                    </a:lnTo>
                    <a:lnTo>
                      <a:pt x="10973" y="48502"/>
                    </a:lnTo>
                    <a:lnTo>
                      <a:pt x="5664" y="48856"/>
                    </a:lnTo>
                    <a:lnTo>
                      <a:pt x="5310" y="45315"/>
                    </a:lnTo>
                    <a:lnTo>
                      <a:pt x="1770" y="46378"/>
                    </a:lnTo>
                    <a:lnTo>
                      <a:pt x="353621" y="1050041"/>
                    </a:lnTo>
                    <a:lnTo>
                      <a:pt x="361408" y="1048979"/>
                    </a:lnTo>
                    <a:lnTo>
                      <a:pt x="395389" y="0"/>
                    </a:lnTo>
                    <a:lnTo>
                      <a:pt x="0" y="41421"/>
                    </a:lnTo>
                    <a:lnTo>
                      <a:pt x="1770" y="46378"/>
                    </a:lnTo>
                    <a:lnTo>
                      <a:pt x="5310" y="45315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4" name="Freihandform 526">
                <a:extLst>
                  <a:ext uri="{FF2B5EF4-FFF2-40B4-BE49-F238E27FC236}">
                    <a16:creationId xmlns:a16="http://schemas.microsoft.com/office/drawing/2014/main" id="{D3C9AE9E-C07F-4E45-B7C1-8955BE95096C}"/>
                  </a:ext>
                </a:extLst>
              </p:cNvPr>
              <p:cNvSpPr/>
              <p:nvPr/>
            </p:nvSpPr>
            <p:spPr>
              <a:xfrm>
                <a:off x="2756360" y="5707892"/>
                <a:ext cx="3893" cy="4248"/>
              </a:xfrm>
              <a:custGeom>
                <a:avLst/>
                <a:gdLst>
                  <a:gd name="connsiteX0" fmla="*/ 3894 w 3893"/>
                  <a:gd name="connsiteY0" fmla="*/ 4248 h 4248"/>
                  <a:gd name="connsiteX1" fmla="*/ 3894 w 3893"/>
                  <a:gd name="connsiteY1" fmla="*/ 708 h 4248"/>
                  <a:gd name="connsiteX2" fmla="*/ 708 w 3893"/>
                  <a:gd name="connsiteY2" fmla="*/ 0 h 4248"/>
                  <a:gd name="connsiteX3" fmla="*/ 0 w 3893"/>
                  <a:gd name="connsiteY3" fmla="*/ 3894 h 4248"/>
                  <a:gd name="connsiteX4" fmla="*/ 3894 w 3893"/>
                  <a:gd name="connsiteY4" fmla="*/ 4248 h 4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93" h="4248">
                    <a:moveTo>
                      <a:pt x="3894" y="4248"/>
                    </a:moveTo>
                    <a:lnTo>
                      <a:pt x="3894" y="708"/>
                    </a:lnTo>
                    <a:lnTo>
                      <a:pt x="708" y="0"/>
                    </a:lnTo>
                    <a:lnTo>
                      <a:pt x="0" y="3894"/>
                    </a:lnTo>
                    <a:lnTo>
                      <a:pt x="3894" y="424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5" name="Freihandform 527">
                <a:extLst>
                  <a:ext uri="{FF2B5EF4-FFF2-40B4-BE49-F238E27FC236}">
                    <a16:creationId xmlns:a16="http://schemas.microsoft.com/office/drawing/2014/main" id="{E6DD995F-2710-4877-8E2D-C3CDB59C95F6}"/>
                  </a:ext>
                </a:extLst>
              </p:cNvPr>
              <p:cNvSpPr/>
              <p:nvPr/>
            </p:nvSpPr>
            <p:spPr>
              <a:xfrm>
                <a:off x="2752113" y="4667056"/>
                <a:ext cx="207782" cy="1094293"/>
              </a:xfrm>
              <a:custGeom>
                <a:avLst/>
                <a:gdLst>
                  <a:gd name="connsiteX0" fmla="*/ 3185 w 207782"/>
                  <a:gd name="connsiteY0" fmla="*/ 1048978 h 1094293"/>
                  <a:gd name="connsiteX1" fmla="*/ 4248 w 207782"/>
                  <a:gd name="connsiteY1" fmla="*/ 1044730 h 1094293"/>
                  <a:gd name="connsiteX2" fmla="*/ 4955 w 207782"/>
                  <a:gd name="connsiteY2" fmla="*/ 1040836 h 1094293"/>
                  <a:gd name="connsiteX3" fmla="*/ 8141 w 207782"/>
                  <a:gd name="connsiteY3" fmla="*/ 1041544 h 1094293"/>
                  <a:gd name="connsiteX4" fmla="*/ 40707 w 207782"/>
                  <a:gd name="connsiteY4" fmla="*/ 44253 h 1094293"/>
                  <a:gd name="connsiteX5" fmla="*/ 198226 w 207782"/>
                  <a:gd name="connsiteY5" fmla="*/ 1083673 h 1094293"/>
                  <a:gd name="connsiteX6" fmla="*/ 8141 w 207782"/>
                  <a:gd name="connsiteY6" fmla="*/ 1041544 h 1094293"/>
                  <a:gd name="connsiteX7" fmla="*/ 8141 w 207782"/>
                  <a:gd name="connsiteY7" fmla="*/ 1045084 h 1094293"/>
                  <a:gd name="connsiteX8" fmla="*/ 4248 w 207782"/>
                  <a:gd name="connsiteY8" fmla="*/ 1044730 h 1094293"/>
                  <a:gd name="connsiteX9" fmla="*/ 3185 w 207782"/>
                  <a:gd name="connsiteY9" fmla="*/ 1048978 h 1094293"/>
                  <a:gd name="connsiteX10" fmla="*/ 207783 w 207782"/>
                  <a:gd name="connsiteY10" fmla="*/ 1094294 h 1094293"/>
                  <a:gd name="connsiteX11" fmla="*/ 42123 w 207782"/>
                  <a:gd name="connsiteY11" fmla="*/ 0 h 1094293"/>
                  <a:gd name="connsiteX12" fmla="*/ 33981 w 207782"/>
                  <a:gd name="connsiteY12" fmla="*/ 354 h 1094293"/>
                  <a:gd name="connsiteX13" fmla="*/ 0 w 207782"/>
                  <a:gd name="connsiteY13" fmla="*/ 1047916 h 1094293"/>
                  <a:gd name="connsiteX14" fmla="*/ 3185 w 207782"/>
                  <a:gd name="connsiteY14" fmla="*/ 1048978 h 1094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7782" h="1094293">
                    <a:moveTo>
                      <a:pt x="3185" y="1048978"/>
                    </a:moveTo>
                    <a:lnTo>
                      <a:pt x="4248" y="1044730"/>
                    </a:lnTo>
                    <a:lnTo>
                      <a:pt x="4955" y="1040836"/>
                    </a:lnTo>
                    <a:lnTo>
                      <a:pt x="8141" y="1041544"/>
                    </a:lnTo>
                    <a:lnTo>
                      <a:pt x="40707" y="44253"/>
                    </a:lnTo>
                    <a:lnTo>
                      <a:pt x="198226" y="1083673"/>
                    </a:lnTo>
                    <a:lnTo>
                      <a:pt x="8141" y="1041544"/>
                    </a:lnTo>
                    <a:lnTo>
                      <a:pt x="8141" y="1045084"/>
                    </a:lnTo>
                    <a:lnTo>
                      <a:pt x="4248" y="1044730"/>
                    </a:lnTo>
                    <a:lnTo>
                      <a:pt x="3185" y="1048978"/>
                    </a:lnTo>
                    <a:lnTo>
                      <a:pt x="207783" y="1094294"/>
                    </a:lnTo>
                    <a:lnTo>
                      <a:pt x="42123" y="0"/>
                    </a:lnTo>
                    <a:lnTo>
                      <a:pt x="33981" y="354"/>
                    </a:lnTo>
                    <a:lnTo>
                      <a:pt x="0" y="1047916"/>
                    </a:lnTo>
                    <a:lnTo>
                      <a:pt x="3185" y="104897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6" name="Freihandform 528">
                <a:extLst>
                  <a:ext uri="{FF2B5EF4-FFF2-40B4-BE49-F238E27FC236}">
                    <a16:creationId xmlns:a16="http://schemas.microsoft.com/office/drawing/2014/main" id="{315D8A8D-41F7-4377-8809-880F5BC24005}"/>
                  </a:ext>
                </a:extLst>
              </p:cNvPr>
              <p:cNvSpPr/>
              <p:nvPr/>
            </p:nvSpPr>
            <p:spPr>
              <a:xfrm>
                <a:off x="3408381" y="4334626"/>
                <a:ext cx="10619" cy="9912"/>
              </a:xfrm>
              <a:custGeom>
                <a:avLst/>
                <a:gdLst>
                  <a:gd name="connsiteX0" fmla="*/ 4956 w 10619"/>
                  <a:gd name="connsiteY0" fmla="*/ 9912 h 9912"/>
                  <a:gd name="connsiteX1" fmla="*/ 10619 w 10619"/>
                  <a:gd name="connsiteY1" fmla="*/ 0 h 9912"/>
                  <a:gd name="connsiteX2" fmla="*/ 0 w 10619"/>
                  <a:gd name="connsiteY2" fmla="*/ 3894 h 9912"/>
                  <a:gd name="connsiteX3" fmla="*/ 1416 w 10619"/>
                  <a:gd name="connsiteY3" fmla="*/ 7788 h 9912"/>
                  <a:gd name="connsiteX4" fmla="*/ 4956 w 10619"/>
                  <a:gd name="connsiteY4" fmla="*/ 9912 h 9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19" h="9912">
                    <a:moveTo>
                      <a:pt x="4956" y="9912"/>
                    </a:moveTo>
                    <a:lnTo>
                      <a:pt x="10619" y="0"/>
                    </a:lnTo>
                    <a:lnTo>
                      <a:pt x="0" y="3894"/>
                    </a:lnTo>
                    <a:lnTo>
                      <a:pt x="1416" y="7788"/>
                    </a:lnTo>
                    <a:lnTo>
                      <a:pt x="4956" y="991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7" name="Freihandform 529">
                <a:extLst>
                  <a:ext uri="{FF2B5EF4-FFF2-40B4-BE49-F238E27FC236}">
                    <a16:creationId xmlns:a16="http://schemas.microsoft.com/office/drawing/2014/main" id="{87C530CE-6DDF-448C-894F-EFC4DDDE7255}"/>
                  </a:ext>
                </a:extLst>
              </p:cNvPr>
              <p:cNvSpPr/>
              <p:nvPr/>
            </p:nvSpPr>
            <p:spPr>
              <a:xfrm>
                <a:off x="3410505" y="4338520"/>
                <a:ext cx="3539" cy="3540"/>
              </a:xfrm>
              <a:custGeom>
                <a:avLst/>
                <a:gdLst>
                  <a:gd name="connsiteX0" fmla="*/ 0 w 3539"/>
                  <a:gd name="connsiteY0" fmla="*/ 0 h 3540"/>
                  <a:gd name="connsiteX1" fmla="*/ 0 w 3539"/>
                  <a:gd name="connsiteY1" fmla="*/ 0 h 3540"/>
                  <a:gd name="connsiteX2" fmla="*/ 0 w 3539"/>
                  <a:gd name="connsiteY2" fmla="*/ 0 h 3540"/>
                  <a:gd name="connsiteX3" fmla="*/ 0 w 3539"/>
                  <a:gd name="connsiteY3" fmla="*/ 0 h 3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39" h="354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8" name="Freihandform 530">
                <a:extLst>
                  <a:ext uri="{FF2B5EF4-FFF2-40B4-BE49-F238E27FC236}">
                    <a16:creationId xmlns:a16="http://schemas.microsoft.com/office/drawing/2014/main" id="{52CA221B-2DE2-404D-873C-198099F7AF89}"/>
                  </a:ext>
                </a:extLst>
              </p:cNvPr>
              <p:cNvSpPr/>
              <p:nvPr/>
            </p:nvSpPr>
            <p:spPr>
              <a:xfrm>
                <a:off x="3409089" y="4338520"/>
                <a:ext cx="1415" cy="7788"/>
              </a:xfrm>
              <a:custGeom>
                <a:avLst/>
                <a:gdLst>
                  <a:gd name="connsiteX0" fmla="*/ 708 w 1415"/>
                  <a:gd name="connsiteY0" fmla="*/ 3894 h 7788"/>
                  <a:gd name="connsiteX1" fmla="*/ 1416 w 1415"/>
                  <a:gd name="connsiteY1" fmla="*/ 0 h 7788"/>
                  <a:gd name="connsiteX2" fmla="*/ 708 w 1415"/>
                  <a:gd name="connsiteY2" fmla="*/ 0 h 7788"/>
                  <a:gd name="connsiteX3" fmla="*/ 0 w 1415"/>
                  <a:gd name="connsiteY3" fmla="*/ 7788 h 7788"/>
                  <a:gd name="connsiteX4" fmla="*/ 708 w 1415"/>
                  <a:gd name="connsiteY4" fmla="*/ 3894 h 7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5" h="7788">
                    <a:moveTo>
                      <a:pt x="708" y="3894"/>
                    </a:moveTo>
                    <a:lnTo>
                      <a:pt x="1416" y="0"/>
                    </a:lnTo>
                    <a:lnTo>
                      <a:pt x="708" y="0"/>
                    </a:lnTo>
                    <a:lnTo>
                      <a:pt x="0" y="7788"/>
                    </a:lnTo>
                    <a:lnTo>
                      <a:pt x="708" y="389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39" name="Freihandform 531">
                <a:extLst>
                  <a:ext uri="{FF2B5EF4-FFF2-40B4-BE49-F238E27FC236}">
                    <a16:creationId xmlns:a16="http://schemas.microsoft.com/office/drawing/2014/main" id="{F26F03F1-00DD-4B29-B1B8-3A2D8B4619F5}"/>
                  </a:ext>
                </a:extLst>
              </p:cNvPr>
              <p:cNvSpPr/>
              <p:nvPr/>
            </p:nvSpPr>
            <p:spPr>
              <a:xfrm>
                <a:off x="2168409" y="2843115"/>
                <a:ext cx="9911" cy="7080"/>
              </a:xfrm>
              <a:custGeom>
                <a:avLst/>
                <a:gdLst>
                  <a:gd name="connsiteX0" fmla="*/ 1770 w 9911"/>
                  <a:gd name="connsiteY0" fmla="*/ 7081 h 7080"/>
                  <a:gd name="connsiteX1" fmla="*/ 9911 w 9911"/>
                  <a:gd name="connsiteY1" fmla="*/ 2832 h 7080"/>
                  <a:gd name="connsiteX2" fmla="*/ 1062 w 9911"/>
                  <a:gd name="connsiteY2" fmla="*/ 0 h 7080"/>
                  <a:gd name="connsiteX3" fmla="*/ 0 w 9911"/>
                  <a:gd name="connsiteY3" fmla="*/ 3894 h 7080"/>
                  <a:gd name="connsiteX4" fmla="*/ 1770 w 9911"/>
                  <a:gd name="connsiteY4" fmla="*/ 7081 h 7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11" h="7080">
                    <a:moveTo>
                      <a:pt x="1770" y="7081"/>
                    </a:moveTo>
                    <a:lnTo>
                      <a:pt x="9911" y="2832"/>
                    </a:lnTo>
                    <a:lnTo>
                      <a:pt x="1062" y="0"/>
                    </a:lnTo>
                    <a:lnTo>
                      <a:pt x="0" y="3894"/>
                    </a:lnTo>
                    <a:lnTo>
                      <a:pt x="1770" y="7081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0" name="Freihandform 532">
                <a:extLst>
                  <a:ext uri="{FF2B5EF4-FFF2-40B4-BE49-F238E27FC236}">
                    <a16:creationId xmlns:a16="http://schemas.microsoft.com/office/drawing/2014/main" id="{2DE503BD-46E6-4BF4-A0AB-E2FB222AACC7}"/>
                  </a:ext>
                </a:extLst>
              </p:cNvPr>
              <p:cNvSpPr/>
              <p:nvPr/>
            </p:nvSpPr>
            <p:spPr>
              <a:xfrm>
                <a:off x="-196140" y="3284231"/>
                <a:ext cx="5663" cy="6018"/>
              </a:xfrm>
              <a:custGeom>
                <a:avLst/>
                <a:gdLst>
                  <a:gd name="connsiteX0" fmla="*/ 5664 w 5663"/>
                  <a:gd name="connsiteY0" fmla="*/ 4249 h 6018"/>
                  <a:gd name="connsiteX1" fmla="*/ 3894 w 5663"/>
                  <a:gd name="connsiteY1" fmla="*/ 0 h 6018"/>
                  <a:gd name="connsiteX2" fmla="*/ 0 w 5663"/>
                  <a:gd name="connsiteY2" fmla="*/ 2478 h 6018"/>
                  <a:gd name="connsiteX3" fmla="*/ 2124 w 5663"/>
                  <a:gd name="connsiteY3" fmla="*/ 6019 h 6018"/>
                  <a:gd name="connsiteX4" fmla="*/ 5664 w 5663"/>
                  <a:gd name="connsiteY4" fmla="*/ 4249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6018">
                    <a:moveTo>
                      <a:pt x="5664" y="4249"/>
                    </a:moveTo>
                    <a:lnTo>
                      <a:pt x="3894" y="0"/>
                    </a:lnTo>
                    <a:lnTo>
                      <a:pt x="0" y="2478"/>
                    </a:lnTo>
                    <a:lnTo>
                      <a:pt x="2124" y="6019"/>
                    </a:lnTo>
                    <a:lnTo>
                      <a:pt x="5664" y="4249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1" name="Freihandform 533">
                <a:extLst>
                  <a:ext uri="{FF2B5EF4-FFF2-40B4-BE49-F238E27FC236}">
                    <a16:creationId xmlns:a16="http://schemas.microsoft.com/office/drawing/2014/main" id="{D1D8DF08-9459-4BEB-A237-987CC31B8CA4}"/>
                  </a:ext>
                </a:extLst>
              </p:cNvPr>
              <p:cNvSpPr/>
              <p:nvPr/>
            </p:nvSpPr>
            <p:spPr>
              <a:xfrm>
                <a:off x="2166285" y="2840991"/>
                <a:ext cx="5663" cy="6018"/>
              </a:xfrm>
              <a:custGeom>
                <a:avLst/>
                <a:gdLst>
                  <a:gd name="connsiteX0" fmla="*/ 5664 w 5663"/>
                  <a:gd name="connsiteY0" fmla="*/ 4248 h 6018"/>
                  <a:gd name="connsiteX1" fmla="*/ 4248 w 5663"/>
                  <a:gd name="connsiteY1" fmla="*/ 0 h 6018"/>
                  <a:gd name="connsiteX2" fmla="*/ 0 w 5663"/>
                  <a:gd name="connsiteY2" fmla="*/ 2478 h 6018"/>
                  <a:gd name="connsiteX3" fmla="*/ 2124 w 5663"/>
                  <a:gd name="connsiteY3" fmla="*/ 6018 h 6018"/>
                  <a:gd name="connsiteX4" fmla="*/ 5664 w 5663"/>
                  <a:gd name="connsiteY4" fmla="*/ 4248 h 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3" h="6018">
                    <a:moveTo>
                      <a:pt x="5664" y="4248"/>
                    </a:moveTo>
                    <a:lnTo>
                      <a:pt x="4248" y="0"/>
                    </a:lnTo>
                    <a:lnTo>
                      <a:pt x="0" y="2478"/>
                    </a:lnTo>
                    <a:lnTo>
                      <a:pt x="2124" y="6018"/>
                    </a:lnTo>
                    <a:lnTo>
                      <a:pt x="5664" y="424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2" name="Freihandform 534">
                <a:extLst>
                  <a:ext uri="{FF2B5EF4-FFF2-40B4-BE49-F238E27FC236}">
                    <a16:creationId xmlns:a16="http://schemas.microsoft.com/office/drawing/2014/main" id="{6866F2EC-5F89-4451-96FA-E6AC68F85C36}"/>
                  </a:ext>
                </a:extLst>
              </p:cNvPr>
              <p:cNvSpPr/>
              <p:nvPr/>
            </p:nvSpPr>
            <p:spPr>
              <a:xfrm>
                <a:off x="682778" y="5077372"/>
                <a:ext cx="6371" cy="6726"/>
              </a:xfrm>
              <a:custGeom>
                <a:avLst/>
                <a:gdLst>
                  <a:gd name="connsiteX0" fmla="*/ 6371 w 6371"/>
                  <a:gd name="connsiteY0" fmla="*/ 6373 h 6726"/>
                  <a:gd name="connsiteX1" fmla="*/ 5664 w 6371"/>
                  <a:gd name="connsiteY1" fmla="*/ 0 h 6726"/>
                  <a:gd name="connsiteX2" fmla="*/ 0 w 6371"/>
                  <a:gd name="connsiteY2" fmla="*/ 3186 h 6726"/>
                  <a:gd name="connsiteX3" fmla="*/ 2478 w 6371"/>
                  <a:gd name="connsiteY3" fmla="*/ 6727 h 6726"/>
                  <a:gd name="connsiteX4" fmla="*/ 6371 w 6371"/>
                  <a:gd name="connsiteY4" fmla="*/ 6373 h 6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71" h="6726">
                    <a:moveTo>
                      <a:pt x="6371" y="6373"/>
                    </a:moveTo>
                    <a:lnTo>
                      <a:pt x="5664" y="0"/>
                    </a:lnTo>
                    <a:lnTo>
                      <a:pt x="0" y="3186"/>
                    </a:lnTo>
                    <a:lnTo>
                      <a:pt x="2478" y="6727"/>
                    </a:lnTo>
                    <a:lnTo>
                      <a:pt x="6371" y="6373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3" name="Freihandform 535">
                <a:extLst>
                  <a:ext uri="{FF2B5EF4-FFF2-40B4-BE49-F238E27FC236}">
                    <a16:creationId xmlns:a16="http://schemas.microsoft.com/office/drawing/2014/main" id="{A5BD8BA4-3554-4F77-B433-2DDFEF67BE91}"/>
                  </a:ext>
                </a:extLst>
              </p:cNvPr>
              <p:cNvSpPr/>
              <p:nvPr/>
            </p:nvSpPr>
            <p:spPr>
              <a:xfrm>
                <a:off x="587559" y="5075602"/>
                <a:ext cx="712904" cy="697076"/>
              </a:xfrm>
              <a:custGeom>
                <a:avLst/>
                <a:gdLst>
                  <a:gd name="connsiteX0" fmla="*/ 395390 w 712904"/>
                  <a:gd name="connsiteY0" fmla="*/ 697077 h 697076"/>
                  <a:gd name="connsiteX1" fmla="*/ 408841 w 712904"/>
                  <a:gd name="connsiteY1" fmla="*/ 697077 h 697076"/>
                  <a:gd name="connsiteX2" fmla="*/ 8849 w 712904"/>
                  <a:gd name="connsiteY2" fmla="*/ 406776 h 697076"/>
                  <a:gd name="connsiteX3" fmla="*/ 8495 w 712904"/>
                  <a:gd name="connsiteY3" fmla="*/ 409254 h 697076"/>
                  <a:gd name="connsiteX4" fmla="*/ 4248 w 712904"/>
                  <a:gd name="connsiteY4" fmla="*/ 408546 h 697076"/>
                  <a:gd name="connsiteX5" fmla="*/ 6726 w 712904"/>
                  <a:gd name="connsiteY5" fmla="*/ 405360 h 697076"/>
                  <a:gd name="connsiteX6" fmla="*/ 8849 w 712904"/>
                  <a:gd name="connsiteY6" fmla="*/ 406776 h 697076"/>
                  <a:gd name="connsiteX7" fmla="*/ 99467 w 712904"/>
                  <a:gd name="connsiteY7" fmla="*/ 16993 h 697076"/>
                  <a:gd name="connsiteX8" fmla="*/ 702285 w 712904"/>
                  <a:gd name="connsiteY8" fmla="*/ 697077 h 697076"/>
                  <a:gd name="connsiteX9" fmla="*/ 712904 w 712904"/>
                  <a:gd name="connsiteY9" fmla="*/ 697077 h 697076"/>
                  <a:gd name="connsiteX10" fmla="*/ 95573 w 712904"/>
                  <a:gd name="connsiteY10" fmla="*/ 0 h 697076"/>
                  <a:gd name="connsiteX11" fmla="*/ 0 w 712904"/>
                  <a:gd name="connsiteY11" fmla="*/ 410316 h 697076"/>
                  <a:gd name="connsiteX12" fmla="*/ 2124 w 712904"/>
                  <a:gd name="connsiteY12" fmla="*/ 411732 h 697076"/>
                  <a:gd name="connsiteX13" fmla="*/ 395390 w 712904"/>
                  <a:gd name="connsiteY13" fmla="*/ 697077 h 697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12904" h="697076">
                    <a:moveTo>
                      <a:pt x="395390" y="697077"/>
                    </a:moveTo>
                    <a:lnTo>
                      <a:pt x="408841" y="697077"/>
                    </a:lnTo>
                    <a:lnTo>
                      <a:pt x="8849" y="406776"/>
                    </a:lnTo>
                    <a:lnTo>
                      <a:pt x="8495" y="409254"/>
                    </a:lnTo>
                    <a:lnTo>
                      <a:pt x="4248" y="408546"/>
                    </a:lnTo>
                    <a:lnTo>
                      <a:pt x="6726" y="405360"/>
                    </a:lnTo>
                    <a:lnTo>
                      <a:pt x="8849" y="406776"/>
                    </a:lnTo>
                    <a:lnTo>
                      <a:pt x="99467" y="16993"/>
                    </a:lnTo>
                    <a:lnTo>
                      <a:pt x="702285" y="697077"/>
                    </a:lnTo>
                    <a:lnTo>
                      <a:pt x="712904" y="697077"/>
                    </a:lnTo>
                    <a:lnTo>
                      <a:pt x="95573" y="0"/>
                    </a:lnTo>
                    <a:lnTo>
                      <a:pt x="0" y="410316"/>
                    </a:lnTo>
                    <a:lnTo>
                      <a:pt x="2124" y="411732"/>
                    </a:lnTo>
                    <a:lnTo>
                      <a:pt x="395390" y="697077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4" name="Freihandform 536">
                <a:extLst>
                  <a:ext uri="{FF2B5EF4-FFF2-40B4-BE49-F238E27FC236}">
                    <a16:creationId xmlns:a16="http://schemas.microsoft.com/office/drawing/2014/main" id="{D878A1EC-0405-4276-B618-5A074F50FFF3}"/>
                  </a:ext>
                </a:extLst>
              </p:cNvPr>
              <p:cNvSpPr/>
              <p:nvPr/>
            </p:nvSpPr>
            <p:spPr>
              <a:xfrm>
                <a:off x="591806" y="5480961"/>
                <a:ext cx="4601" cy="3894"/>
              </a:xfrm>
              <a:custGeom>
                <a:avLst/>
                <a:gdLst>
                  <a:gd name="connsiteX0" fmla="*/ 4248 w 4601"/>
                  <a:gd name="connsiteY0" fmla="*/ 3895 h 3894"/>
                  <a:gd name="connsiteX1" fmla="*/ 4602 w 4601"/>
                  <a:gd name="connsiteY1" fmla="*/ 1416 h 3894"/>
                  <a:gd name="connsiteX2" fmla="*/ 2478 w 4601"/>
                  <a:gd name="connsiteY2" fmla="*/ 0 h 3894"/>
                  <a:gd name="connsiteX3" fmla="*/ 0 w 4601"/>
                  <a:gd name="connsiteY3" fmla="*/ 3186 h 3894"/>
                  <a:gd name="connsiteX4" fmla="*/ 4248 w 4601"/>
                  <a:gd name="connsiteY4" fmla="*/ 3895 h 3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01" h="3894">
                    <a:moveTo>
                      <a:pt x="4248" y="3895"/>
                    </a:moveTo>
                    <a:lnTo>
                      <a:pt x="4602" y="1416"/>
                    </a:lnTo>
                    <a:lnTo>
                      <a:pt x="2478" y="0"/>
                    </a:lnTo>
                    <a:lnTo>
                      <a:pt x="0" y="3186"/>
                    </a:lnTo>
                    <a:lnTo>
                      <a:pt x="4248" y="3895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5" name="Freihandform 537">
                <a:extLst>
                  <a:ext uri="{FF2B5EF4-FFF2-40B4-BE49-F238E27FC236}">
                    <a16:creationId xmlns:a16="http://schemas.microsoft.com/office/drawing/2014/main" id="{9EA01E0F-FA56-4185-B035-9FC4EF87BD9F}"/>
                  </a:ext>
                </a:extLst>
              </p:cNvPr>
              <p:cNvSpPr/>
              <p:nvPr/>
            </p:nvSpPr>
            <p:spPr>
              <a:xfrm>
                <a:off x="682778" y="3985910"/>
                <a:ext cx="1725625" cy="1102082"/>
              </a:xfrm>
              <a:custGeom>
                <a:avLst/>
                <a:gdLst>
                  <a:gd name="connsiteX0" fmla="*/ 2478 w 1725625"/>
                  <a:gd name="connsiteY0" fmla="*/ 1098188 h 1102082"/>
                  <a:gd name="connsiteX1" fmla="*/ 1416 w 1725625"/>
                  <a:gd name="connsiteY1" fmla="*/ 1094294 h 1102082"/>
                  <a:gd name="connsiteX2" fmla="*/ 23008 w 1725625"/>
                  <a:gd name="connsiteY2" fmla="*/ 1089691 h 1102082"/>
                  <a:gd name="connsiteX3" fmla="*/ 1716776 w 1725625"/>
                  <a:gd name="connsiteY3" fmla="*/ 14161 h 1102082"/>
                  <a:gd name="connsiteX4" fmla="*/ 1717484 w 1725625"/>
                  <a:gd name="connsiteY4" fmla="*/ 719026 h 1102082"/>
                  <a:gd name="connsiteX5" fmla="*/ 23008 w 1725625"/>
                  <a:gd name="connsiteY5" fmla="*/ 1089691 h 1102082"/>
                  <a:gd name="connsiteX6" fmla="*/ 4248 w 1725625"/>
                  <a:gd name="connsiteY6" fmla="*/ 1101374 h 1102082"/>
                  <a:gd name="connsiteX7" fmla="*/ 2478 w 1725625"/>
                  <a:gd name="connsiteY7" fmla="*/ 1098188 h 1102082"/>
                  <a:gd name="connsiteX8" fmla="*/ 3186 w 1725625"/>
                  <a:gd name="connsiteY8" fmla="*/ 1102082 h 1102082"/>
                  <a:gd name="connsiteX9" fmla="*/ 1725625 w 1725625"/>
                  <a:gd name="connsiteY9" fmla="*/ 725399 h 1102082"/>
                  <a:gd name="connsiteX10" fmla="*/ 1724564 w 1725625"/>
                  <a:gd name="connsiteY10" fmla="*/ 0 h 1102082"/>
                  <a:gd name="connsiteX11" fmla="*/ 0 w 1725625"/>
                  <a:gd name="connsiteY11" fmla="*/ 1094648 h 1102082"/>
                  <a:gd name="connsiteX12" fmla="*/ 3186 w 1725625"/>
                  <a:gd name="connsiteY12" fmla="*/ 1102082 h 1102082"/>
                  <a:gd name="connsiteX13" fmla="*/ 2478 w 1725625"/>
                  <a:gd name="connsiteY13" fmla="*/ 1098188 h 1102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25625" h="1102082">
                    <a:moveTo>
                      <a:pt x="2478" y="1098188"/>
                    </a:moveTo>
                    <a:lnTo>
                      <a:pt x="1416" y="1094294"/>
                    </a:lnTo>
                    <a:lnTo>
                      <a:pt x="23008" y="1089691"/>
                    </a:lnTo>
                    <a:lnTo>
                      <a:pt x="1716776" y="14161"/>
                    </a:lnTo>
                    <a:lnTo>
                      <a:pt x="1717484" y="719026"/>
                    </a:lnTo>
                    <a:lnTo>
                      <a:pt x="23008" y="1089691"/>
                    </a:lnTo>
                    <a:lnTo>
                      <a:pt x="4248" y="1101374"/>
                    </a:lnTo>
                    <a:lnTo>
                      <a:pt x="2478" y="1098188"/>
                    </a:lnTo>
                    <a:lnTo>
                      <a:pt x="3186" y="1102082"/>
                    </a:lnTo>
                    <a:lnTo>
                      <a:pt x="1725625" y="725399"/>
                    </a:lnTo>
                    <a:lnTo>
                      <a:pt x="1724564" y="0"/>
                    </a:lnTo>
                    <a:lnTo>
                      <a:pt x="0" y="1094648"/>
                    </a:lnTo>
                    <a:lnTo>
                      <a:pt x="3186" y="1102082"/>
                    </a:lnTo>
                    <a:lnTo>
                      <a:pt x="2478" y="1098188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6" name="Freihandform 538">
                <a:extLst>
                  <a:ext uri="{FF2B5EF4-FFF2-40B4-BE49-F238E27FC236}">
                    <a16:creationId xmlns:a16="http://schemas.microsoft.com/office/drawing/2014/main" id="{FC3A8DB3-8720-4014-BAA8-074E0C53866F}"/>
                  </a:ext>
                </a:extLst>
              </p:cNvPr>
              <p:cNvSpPr/>
              <p:nvPr/>
            </p:nvSpPr>
            <p:spPr>
              <a:xfrm>
                <a:off x="684194" y="5075602"/>
                <a:ext cx="21592" cy="11683"/>
              </a:xfrm>
              <a:custGeom>
                <a:avLst/>
                <a:gdLst>
                  <a:gd name="connsiteX0" fmla="*/ 2832 w 21592"/>
                  <a:gd name="connsiteY0" fmla="*/ 11683 h 11683"/>
                  <a:gd name="connsiteX1" fmla="*/ 21593 w 21592"/>
                  <a:gd name="connsiteY1" fmla="*/ 0 h 11683"/>
                  <a:gd name="connsiteX2" fmla="*/ 0 w 21592"/>
                  <a:gd name="connsiteY2" fmla="*/ 4603 h 11683"/>
                  <a:gd name="connsiteX3" fmla="*/ 1062 w 21592"/>
                  <a:gd name="connsiteY3" fmla="*/ 8497 h 11683"/>
                  <a:gd name="connsiteX4" fmla="*/ 2832 w 21592"/>
                  <a:gd name="connsiteY4" fmla="*/ 11683 h 11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592" h="11683">
                    <a:moveTo>
                      <a:pt x="2832" y="11683"/>
                    </a:moveTo>
                    <a:lnTo>
                      <a:pt x="21593" y="0"/>
                    </a:lnTo>
                    <a:lnTo>
                      <a:pt x="0" y="4603"/>
                    </a:lnTo>
                    <a:lnTo>
                      <a:pt x="1062" y="8497"/>
                    </a:lnTo>
                    <a:lnTo>
                      <a:pt x="2832" y="11683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7" name="Freihandform 539">
                <a:extLst>
                  <a:ext uri="{FF2B5EF4-FFF2-40B4-BE49-F238E27FC236}">
                    <a16:creationId xmlns:a16="http://schemas.microsoft.com/office/drawing/2014/main" id="{370F5C53-85E5-4208-9828-9836753D9012}"/>
                  </a:ext>
                </a:extLst>
              </p:cNvPr>
              <p:cNvSpPr/>
              <p:nvPr/>
            </p:nvSpPr>
            <p:spPr>
              <a:xfrm>
                <a:off x="685256" y="5081266"/>
                <a:ext cx="7433" cy="6726"/>
              </a:xfrm>
              <a:custGeom>
                <a:avLst/>
                <a:gdLst>
                  <a:gd name="connsiteX0" fmla="*/ 7433 w 7433"/>
                  <a:gd name="connsiteY0" fmla="*/ 5310 h 6726"/>
                  <a:gd name="connsiteX1" fmla="*/ 2832 w 7433"/>
                  <a:gd name="connsiteY1" fmla="*/ 0 h 6726"/>
                  <a:gd name="connsiteX2" fmla="*/ 0 w 7433"/>
                  <a:gd name="connsiteY2" fmla="*/ 2832 h 6726"/>
                  <a:gd name="connsiteX3" fmla="*/ 708 w 7433"/>
                  <a:gd name="connsiteY3" fmla="*/ 6726 h 6726"/>
                  <a:gd name="connsiteX4" fmla="*/ 7433 w 7433"/>
                  <a:gd name="connsiteY4" fmla="*/ 5310 h 6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3" h="6726">
                    <a:moveTo>
                      <a:pt x="7433" y="5310"/>
                    </a:moveTo>
                    <a:lnTo>
                      <a:pt x="2832" y="0"/>
                    </a:lnTo>
                    <a:lnTo>
                      <a:pt x="0" y="2832"/>
                    </a:lnTo>
                    <a:lnTo>
                      <a:pt x="708" y="6726"/>
                    </a:lnTo>
                    <a:lnTo>
                      <a:pt x="7433" y="531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8" name="Freihandform 540">
                <a:extLst>
                  <a:ext uri="{FF2B5EF4-FFF2-40B4-BE49-F238E27FC236}">
                    <a16:creationId xmlns:a16="http://schemas.microsoft.com/office/drawing/2014/main" id="{1FDB8742-200F-40A7-B915-8E7D65DADBC0}"/>
                  </a:ext>
                </a:extLst>
              </p:cNvPr>
              <p:cNvSpPr/>
              <p:nvPr/>
            </p:nvSpPr>
            <p:spPr>
              <a:xfrm>
                <a:off x="677468" y="4702813"/>
                <a:ext cx="1732704" cy="1069865"/>
              </a:xfrm>
              <a:custGeom>
                <a:avLst/>
                <a:gdLst>
                  <a:gd name="connsiteX0" fmla="*/ 612376 w 1732704"/>
                  <a:gd name="connsiteY0" fmla="*/ 1069866 h 1069865"/>
                  <a:gd name="connsiteX1" fmla="*/ 622995 w 1732704"/>
                  <a:gd name="connsiteY1" fmla="*/ 1069866 h 1069865"/>
                  <a:gd name="connsiteX2" fmla="*/ 15221 w 1732704"/>
                  <a:gd name="connsiteY2" fmla="*/ 383764 h 1069865"/>
                  <a:gd name="connsiteX3" fmla="*/ 8495 w 1732704"/>
                  <a:gd name="connsiteY3" fmla="*/ 385180 h 1069865"/>
                  <a:gd name="connsiteX4" fmla="*/ 7787 w 1732704"/>
                  <a:gd name="connsiteY4" fmla="*/ 381286 h 1069865"/>
                  <a:gd name="connsiteX5" fmla="*/ 10619 w 1732704"/>
                  <a:gd name="connsiteY5" fmla="*/ 378454 h 1069865"/>
                  <a:gd name="connsiteX6" fmla="*/ 15221 w 1732704"/>
                  <a:gd name="connsiteY6" fmla="*/ 383764 h 1069865"/>
                  <a:gd name="connsiteX7" fmla="*/ 1720670 w 1732704"/>
                  <a:gd name="connsiteY7" fmla="*/ 10975 h 1069865"/>
                  <a:gd name="connsiteX8" fmla="*/ 1368819 w 1732704"/>
                  <a:gd name="connsiteY8" fmla="*/ 1069866 h 1069865"/>
                  <a:gd name="connsiteX9" fmla="*/ 1377315 w 1732704"/>
                  <a:gd name="connsiteY9" fmla="*/ 1069866 h 1069865"/>
                  <a:gd name="connsiteX10" fmla="*/ 1732705 w 1732704"/>
                  <a:gd name="connsiteY10" fmla="*/ 0 h 1069865"/>
                  <a:gd name="connsiteX11" fmla="*/ 0 w 1732704"/>
                  <a:gd name="connsiteY11" fmla="*/ 378808 h 1069865"/>
                  <a:gd name="connsiteX12" fmla="*/ 4602 w 1732704"/>
                  <a:gd name="connsiteY12" fmla="*/ 383764 h 1069865"/>
                  <a:gd name="connsiteX13" fmla="*/ 612376 w 1732704"/>
                  <a:gd name="connsiteY13" fmla="*/ 1069866 h 1069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32704" h="1069865">
                    <a:moveTo>
                      <a:pt x="612376" y="1069866"/>
                    </a:moveTo>
                    <a:lnTo>
                      <a:pt x="622995" y="1069866"/>
                    </a:lnTo>
                    <a:lnTo>
                      <a:pt x="15221" y="383764"/>
                    </a:lnTo>
                    <a:lnTo>
                      <a:pt x="8495" y="385180"/>
                    </a:lnTo>
                    <a:lnTo>
                      <a:pt x="7787" y="381286"/>
                    </a:lnTo>
                    <a:lnTo>
                      <a:pt x="10619" y="378454"/>
                    </a:lnTo>
                    <a:lnTo>
                      <a:pt x="15221" y="383764"/>
                    </a:lnTo>
                    <a:lnTo>
                      <a:pt x="1720670" y="10975"/>
                    </a:lnTo>
                    <a:lnTo>
                      <a:pt x="1368819" y="1069866"/>
                    </a:lnTo>
                    <a:lnTo>
                      <a:pt x="1377315" y="1069866"/>
                    </a:lnTo>
                    <a:lnTo>
                      <a:pt x="1732705" y="0"/>
                    </a:lnTo>
                    <a:lnTo>
                      <a:pt x="0" y="378808"/>
                    </a:lnTo>
                    <a:lnTo>
                      <a:pt x="4602" y="383764"/>
                    </a:lnTo>
                    <a:lnTo>
                      <a:pt x="612376" y="106986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49" name="Freihandform 541">
                <a:extLst>
                  <a:ext uri="{FF2B5EF4-FFF2-40B4-BE49-F238E27FC236}">
                    <a16:creationId xmlns:a16="http://schemas.microsoft.com/office/drawing/2014/main" id="{7DF26B1E-E19B-40E7-972B-95C132F9191E}"/>
                  </a:ext>
                </a:extLst>
              </p:cNvPr>
              <p:cNvSpPr/>
              <p:nvPr/>
            </p:nvSpPr>
            <p:spPr>
              <a:xfrm>
                <a:off x="2784678" y="4335688"/>
                <a:ext cx="629366" cy="1394507"/>
              </a:xfrm>
              <a:custGeom>
                <a:avLst/>
                <a:gdLst>
                  <a:gd name="connsiteX0" fmla="*/ 5664 w 629366"/>
                  <a:gd name="connsiteY0" fmla="*/ 332076 h 1394507"/>
                  <a:gd name="connsiteX1" fmla="*/ 8849 w 629366"/>
                  <a:gd name="connsiteY1" fmla="*/ 330306 h 1394507"/>
                  <a:gd name="connsiteX2" fmla="*/ 10973 w 629366"/>
                  <a:gd name="connsiteY2" fmla="*/ 333493 h 1394507"/>
                  <a:gd name="connsiteX3" fmla="*/ 620871 w 629366"/>
                  <a:gd name="connsiteY3" fmla="*/ 13453 h 1394507"/>
                  <a:gd name="connsiteX4" fmla="*/ 552908 w 629366"/>
                  <a:gd name="connsiteY4" fmla="*/ 1365124 h 1394507"/>
                  <a:gd name="connsiteX5" fmla="*/ 10973 w 629366"/>
                  <a:gd name="connsiteY5" fmla="*/ 333493 h 1394507"/>
                  <a:gd name="connsiteX6" fmla="*/ 7079 w 629366"/>
                  <a:gd name="connsiteY6" fmla="*/ 335617 h 1394507"/>
                  <a:gd name="connsiteX7" fmla="*/ 5664 w 629366"/>
                  <a:gd name="connsiteY7" fmla="*/ 332076 h 1394507"/>
                  <a:gd name="connsiteX8" fmla="*/ 2124 w 629366"/>
                  <a:gd name="connsiteY8" fmla="*/ 333847 h 1394507"/>
                  <a:gd name="connsiteX9" fmla="*/ 559634 w 629366"/>
                  <a:gd name="connsiteY9" fmla="*/ 1394508 h 1394507"/>
                  <a:gd name="connsiteX10" fmla="*/ 629367 w 629366"/>
                  <a:gd name="connsiteY10" fmla="*/ 0 h 1394507"/>
                  <a:gd name="connsiteX11" fmla="*/ 0 w 629366"/>
                  <a:gd name="connsiteY11" fmla="*/ 330306 h 1394507"/>
                  <a:gd name="connsiteX12" fmla="*/ 2124 w 629366"/>
                  <a:gd name="connsiteY12" fmla="*/ 333847 h 1394507"/>
                  <a:gd name="connsiteX13" fmla="*/ 5664 w 629366"/>
                  <a:gd name="connsiteY13" fmla="*/ 332076 h 1394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9366" h="1394507">
                    <a:moveTo>
                      <a:pt x="5664" y="332076"/>
                    </a:moveTo>
                    <a:lnTo>
                      <a:pt x="8849" y="330306"/>
                    </a:lnTo>
                    <a:lnTo>
                      <a:pt x="10973" y="333493"/>
                    </a:lnTo>
                    <a:lnTo>
                      <a:pt x="620871" y="13453"/>
                    </a:lnTo>
                    <a:lnTo>
                      <a:pt x="552908" y="1365124"/>
                    </a:lnTo>
                    <a:lnTo>
                      <a:pt x="10973" y="333493"/>
                    </a:lnTo>
                    <a:lnTo>
                      <a:pt x="7079" y="335617"/>
                    </a:lnTo>
                    <a:lnTo>
                      <a:pt x="5664" y="332076"/>
                    </a:lnTo>
                    <a:lnTo>
                      <a:pt x="2124" y="333847"/>
                    </a:lnTo>
                    <a:lnTo>
                      <a:pt x="559634" y="1394508"/>
                    </a:lnTo>
                    <a:lnTo>
                      <a:pt x="629367" y="0"/>
                    </a:lnTo>
                    <a:lnTo>
                      <a:pt x="0" y="330306"/>
                    </a:lnTo>
                    <a:lnTo>
                      <a:pt x="2124" y="333847"/>
                    </a:lnTo>
                    <a:lnTo>
                      <a:pt x="5664" y="33207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0" name="Freihandform 542">
                <a:extLst>
                  <a:ext uri="{FF2B5EF4-FFF2-40B4-BE49-F238E27FC236}">
                    <a16:creationId xmlns:a16="http://schemas.microsoft.com/office/drawing/2014/main" id="{BB1A19FB-4C93-4F01-9889-B6E8A72B2D6E}"/>
                  </a:ext>
                </a:extLst>
              </p:cNvPr>
              <p:cNvSpPr/>
              <p:nvPr/>
            </p:nvSpPr>
            <p:spPr>
              <a:xfrm>
                <a:off x="2790342" y="4665994"/>
                <a:ext cx="5309" cy="5310"/>
              </a:xfrm>
              <a:custGeom>
                <a:avLst/>
                <a:gdLst>
                  <a:gd name="connsiteX0" fmla="*/ 5310 w 5309"/>
                  <a:gd name="connsiteY0" fmla="*/ 3186 h 5310"/>
                  <a:gd name="connsiteX1" fmla="*/ 3186 w 5309"/>
                  <a:gd name="connsiteY1" fmla="*/ 0 h 5310"/>
                  <a:gd name="connsiteX2" fmla="*/ 0 w 5309"/>
                  <a:gd name="connsiteY2" fmla="*/ 1770 h 5310"/>
                  <a:gd name="connsiteX3" fmla="*/ 1416 w 5309"/>
                  <a:gd name="connsiteY3" fmla="*/ 5310 h 5310"/>
                  <a:gd name="connsiteX4" fmla="*/ 5310 w 5309"/>
                  <a:gd name="connsiteY4" fmla="*/ 3186 h 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09" h="5310">
                    <a:moveTo>
                      <a:pt x="5310" y="3186"/>
                    </a:moveTo>
                    <a:lnTo>
                      <a:pt x="3186" y="0"/>
                    </a:lnTo>
                    <a:lnTo>
                      <a:pt x="0" y="1770"/>
                    </a:lnTo>
                    <a:lnTo>
                      <a:pt x="1416" y="5310"/>
                    </a:lnTo>
                    <a:lnTo>
                      <a:pt x="5310" y="318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1" name="Freihandform 543">
                <a:extLst>
                  <a:ext uri="{FF2B5EF4-FFF2-40B4-BE49-F238E27FC236}">
                    <a16:creationId xmlns:a16="http://schemas.microsoft.com/office/drawing/2014/main" id="{92D41DF5-710D-49FC-90A7-BC9C022607B5}"/>
                  </a:ext>
                </a:extLst>
              </p:cNvPr>
              <p:cNvSpPr/>
              <p:nvPr/>
            </p:nvSpPr>
            <p:spPr>
              <a:xfrm>
                <a:off x="2786094" y="4665994"/>
                <a:ext cx="561403" cy="1094293"/>
              </a:xfrm>
              <a:custGeom>
                <a:avLst/>
                <a:gdLst>
                  <a:gd name="connsiteX0" fmla="*/ 169200 w 561403"/>
                  <a:gd name="connsiteY0" fmla="*/ 1093940 h 1094293"/>
                  <a:gd name="connsiteX1" fmla="*/ 168846 w 561403"/>
                  <a:gd name="connsiteY1" fmla="*/ 1090046 h 1094293"/>
                  <a:gd name="connsiteX2" fmla="*/ 168846 w 561403"/>
                  <a:gd name="connsiteY2" fmla="*/ 1086151 h 1094293"/>
                  <a:gd name="connsiteX3" fmla="*/ 172385 w 561403"/>
                  <a:gd name="connsiteY3" fmla="*/ 1085797 h 1094293"/>
                  <a:gd name="connsiteX4" fmla="*/ 11327 w 561403"/>
                  <a:gd name="connsiteY4" fmla="*/ 24782 h 1094293"/>
                  <a:gd name="connsiteX5" fmla="*/ 548660 w 561403"/>
                  <a:gd name="connsiteY5" fmla="*/ 1046146 h 1094293"/>
                  <a:gd name="connsiteX6" fmla="*/ 172385 w 561403"/>
                  <a:gd name="connsiteY6" fmla="*/ 1085797 h 1094293"/>
                  <a:gd name="connsiteX7" fmla="*/ 173094 w 561403"/>
                  <a:gd name="connsiteY7" fmla="*/ 1089692 h 1094293"/>
                  <a:gd name="connsiteX8" fmla="*/ 168846 w 561403"/>
                  <a:gd name="connsiteY8" fmla="*/ 1090046 h 1094293"/>
                  <a:gd name="connsiteX9" fmla="*/ 169200 w 561403"/>
                  <a:gd name="connsiteY9" fmla="*/ 1093940 h 1094293"/>
                  <a:gd name="connsiteX10" fmla="*/ 561403 w 561403"/>
                  <a:gd name="connsiteY10" fmla="*/ 1052873 h 1094293"/>
                  <a:gd name="connsiteX11" fmla="*/ 7433 w 561403"/>
                  <a:gd name="connsiteY11" fmla="*/ 0 h 1094293"/>
                  <a:gd name="connsiteX12" fmla="*/ 0 w 561403"/>
                  <a:gd name="connsiteY12" fmla="*/ 2478 h 1094293"/>
                  <a:gd name="connsiteX13" fmla="*/ 165660 w 561403"/>
                  <a:gd name="connsiteY13" fmla="*/ 1094294 h 1094293"/>
                  <a:gd name="connsiteX14" fmla="*/ 169200 w 561403"/>
                  <a:gd name="connsiteY14" fmla="*/ 1093940 h 1094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61403" h="1094293">
                    <a:moveTo>
                      <a:pt x="169200" y="1093940"/>
                    </a:moveTo>
                    <a:lnTo>
                      <a:pt x="168846" y="1090046"/>
                    </a:lnTo>
                    <a:lnTo>
                      <a:pt x="168846" y="1086151"/>
                    </a:lnTo>
                    <a:lnTo>
                      <a:pt x="172385" y="1085797"/>
                    </a:lnTo>
                    <a:lnTo>
                      <a:pt x="11327" y="24782"/>
                    </a:lnTo>
                    <a:lnTo>
                      <a:pt x="548660" y="1046146"/>
                    </a:lnTo>
                    <a:lnTo>
                      <a:pt x="172385" y="1085797"/>
                    </a:lnTo>
                    <a:lnTo>
                      <a:pt x="173094" y="1089692"/>
                    </a:lnTo>
                    <a:lnTo>
                      <a:pt x="168846" y="1090046"/>
                    </a:lnTo>
                    <a:lnTo>
                      <a:pt x="169200" y="1093940"/>
                    </a:lnTo>
                    <a:lnTo>
                      <a:pt x="561403" y="1052873"/>
                    </a:lnTo>
                    <a:lnTo>
                      <a:pt x="7433" y="0"/>
                    </a:lnTo>
                    <a:lnTo>
                      <a:pt x="0" y="2478"/>
                    </a:lnTo>
                    <a:lnTo>
                      <a:pt x="165660" y="1094294"/>
                    </a:lnTo>
                    <a:lnTo>
                      <a:pt x="169200" y="1093940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2" name="Freihandform 544">
                <a:extLst>
                  <a:ext uri="{FF2B5EF4-FFF2-40B4-BE49-F238E27FC236}">
                    <a16:creationId xmlns:a16="http://schemas.microsoft.com/office/drawing/2014/main" id="{7D24E496-55E1-437C-B54A-98340ED41726}"/>
                  </a:ext>
                </a:extLst>
              </p:cNvPr>
              <p:cNvSpPr/>
              <p:nvPr/>
            </p:nvSpPr>
            <p:spPr>
              <a:xfrm>
                <a:off x="3341126" y="5711786"/>
                <a:ext cx="4247" cy="3894"/>
              </a:xfrm>
              <a:custGeom>
                <a:avLst/>
                <a:gdLst>
                  <a:gd name="connsiteX0" fmla="*/ 3894 w 4247"/>
                  <a:gd name="connsiteY0" fmla="*/ 3894 h 3894"/>
                  <a:gd name="connsiteX1" fmla="*/ 4248 w 4247"/>
                  <a:gd name="connsiteY1" fmla="*/ 708 h 3894"/>
                  <a:gd name="connsiteX2" fmla="*/ 708 w 4247"/>
                  <a:gd name="connsiteY2" fmla="*/ 0 h 3894"/>
                  <a:gd name="connsiteX3" fmla="*/ 0 w 4247"/>
                  <a:gd name="connsiteY3" fmla="*/ 3894 h 3894"/>
                  <a:gd name="connsiteX4" fmla="*/ 3894 w 4247"/>
                  <a:gd name="connsiteY4" fmla="*/ 3894 h 3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47" h="3894">
                    <a:moveTo>
                      <a:pt x="3894" y="3894"/>
                    </a:moveTo>
                    <a:lnTo>
                      <a:pt x="4248" y="708"/>
                    </a:lnTo>
                    <a:lnTo>
                      <a:pt x="708" y="0"/>
                    </a:lnTo>
                    <a:lnTo>
                      <a:pt x="0" y="3894"/>
                    </a:lnTo>
                    <a:lnTo>
                      <a:pt x="3894" y="389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3" name="Freihandform 545">
                <a:extLst>
                  <a:ext uri="{FF2B5EF4-FFF2-40B4-BE49-F238E27FC236}">
                    <a16:creationId xmlns:a16="http://schemas.microsoft.com/office/drawing/2014/main" id="{70307923-D2FC-4CCF-A055-564243FD3E1D}"/>
                  </a:ext>
                </a:extLst>
              </p:cNvPr>
              <p:cNvSpPr/>
              <p:nvPr/>
            </p:nvSpPr>
            <p:spPr>
              <a:xfrm>
                <a:off x="3336878" y="4332502"/>
                <a:ext cx="1323156" cy="1440176"/>
              </a:xfrm>
              <a:custGeom>
                <a:avLst/>
                <a:gdLst>
                  <a:gd name="connsiteX0" fmla="*/ 277162 w 1323156"/>
                  <a:gd name="connsiteY0" fmla="*/ 1440177 h 1440176"/>
                  <a:gd name="connsiteX1" fmla="*/ 319285 w 1323156"/>
                  <a:gd name="connsiteY1" fmla="*/ 1440177 h 1440176"/>
                  <a:gd name="connsiteX2" fmla="*/ 8495 w 1323156"/>
                  <a:gd name="connsiteY2" fmla="*/ 1379992 h 1440176"/>
                  <a:gd name="connsiteX3" fmla="*/ 8142 w 1323156"/>
                  <a:gd name="connsiteY3" fmla="*/ 1383179 h 1440176"/>
                  <a:gd name="connsiteX4" fmla="*/ 4248 w 1323156"/>
                  <a:gd name="connsiteY4" fmla="*/ 1383179 h 1440176"/>
                  <a:gd name="connsiteX5" fmla="*/ 4956 w 1323156"/>
                  <a:gd name="connsiteY5" fmla="*/ 1379284 h 1440176"/>
                  <a:gd name="connsiteX6" fmla="*/ 8495 w 1323156"/>
                  <a:gd name="connsiteY6" fmla="*/ 1379992 h 1440176"/>
                  <a:gd name="connsiteX7" fmla="*/ 76458 w 1323156"/>
                  <a:gd name="connsiteY7" fmla="*/ 20179 h 1440176"/>
                  <a:gd name="connsiteX8" fmla="*/ 1312538 w 1323156"/>
                  <a:gd name="connsiteY8" fmla="*/ 1440177 h 1440176"/>
                  <a:gd name="connsiteX9" fmla="*/ 1323157 w 1323156"/>
                  <a:gd name="connsiteY9" fmla="*/ 1440177 h 1440176"/>
                  <a:gd name="connsiteX10" fmla="*/ 69379 w 1323156"/>
                  <a:gd name="connsiteY10" fmla="*/ 0 h 1440176"/>
                  <a:gd name="connsiteX11" fmla="*/ 0 w 1323156"/>
                  <a:gd name="connsiteY11" fmla="*/ 1386365 h 1440176"/>
                  <a:gd name="connsiteX12" fmla="*/ 3540 w 1323156"/>
                  <a:gd name="connsiteY12" fmla="*/ 1387073 h 1440176"/>
                  <a:gd name="connsiteX13" fmla="*/ 277162 w 1323156"/>
                  <a:gd name="connsiteY13" fmla="*/ 1440177 h 1440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23156" h="1440176">
                    <a:moveTo>
                      <a:pt x="277162" y="1440177"/>
                    </a:moveTo>
                    <a:lnTo>
                      <a:pt x="319285" y="1440177"/>
                    </a:lnTo>
                    <a:lnTo>
                      <a:pt x="8495" y="1379992"/>
                    </a:lnTo>
                    <a:lnTo>
                      <a:pt x="8142" y="1383179"/>
                    </a:lnTo>
                    <a:lnTo>
                      <a:pt x="4248" y="1383179"/>
                    </a:lnTo>
                    <a:lnTo>
                      <a:pt x="4956" y="1379284"/>
                    </a:lnTo>
                    <a:lnTo>
                      <a:pt x="8495" y="1379992"/>
                    </a:lnTo>
                    <a:lnTo>
                      <a:pt x="76458" y="20179"/>
                    </a:lnTo>
                    <a:lnTo>
                      <a:pt x="1312538" y="1440177"/>
                    </a:lnTo>
                    <a:lnTo>
                      <a:pt x="1323157" y="1440177"/>
                    </a:lnTo>
                    <a:lnTo>
                      <a:pt x="69379" y="0"/>
                    </a:lnTo>
                    <a:lnTo>
                      <a:pt x="0" y="1386365"/>
                    </a:lnTo>
                    <a:lnTo>
                      <a:pt x="3540" y="1387073"/>
                    </a:lnTo>
                    <a:lnTo>
                      <a:pt x="277162" y="1440177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4" name="Freihandform 546">
                <a:extLst>
                  <a:ext uri="{FF2B5EF4-FFF2-40B4-BE49-F238E27FC236}">
                    <a16:creationId xmlns:a16="http://schemas.microsoft.com/office/drawing/2014/main" id="{66474DEF-9482-440C-B4DD-BD0759BEA0DE}"/>
                  </a:ext>
                </a:extLst>
              </p:cNvPr>
              <p:cNvSpPr/>
              <p:nvPr/>
            </p:nvSpPr>
            <p:spPr>
              <a:xfrm>
                <a:off x="2945383" y="5711432"/>
                <a:ext cx="397867" cy="61246"/>
              </a:xfrm>
              <a:custGeom>
                <a:avLst/>
                <a:gdLst>
                  <a:gd name="connsiteX0" fmla="*/ 36105 w 397867"/>
                  <a:gd name="connsiteY0" fmla="*/ 61246 h 61246"/>
                  <a:gd name="connsiteX1" fmla="*/ 19822 w 397867"/>
                  <a:gd name="connsiteY1" fmla="*/ 47793 h 61246"/>
                  <a:gd name="connsiteX2" fmla="*/ 379460 w 397867"/>
                  <a:gd name="connsiteY2" fmla="*/ 9912 h 61246"/>
                  <a:gd name="connsiteX3" fmla="*/ 298400 w 397867"/>
                  <a:gd name="connsiteY3" fmla="*/ 61246 h 61246"/>
                  <a:gd name="connsiteX4" fmla="*/ 313267 w 397867"/>
                  <a:gd name="connsiteY4" fmla="*/ 61246 h 61246"/>
                  <a:gd name="connsiteX5" fmla="*/ 397867 w 397867"/>
                  <a:gd name="connsiteY5" fmla="*/ 7434 h 61246"/>
                  <a:gd name="connsiteX6" fmla="*/ 395389 w 397867"/>
                  <a:gd name="connsiteY6" fmla="*/ 0 h 61246"/>
                  <a:gd name="connsiteX7" fmla="*/ 0 w 397867"/>
                  <a:gd name="connsiteY7" fmla="*/ 41775 h 61246"/>
                  <a:gd name="connsiteX8" fmla="*/ 23716 w 397867"/>
                  <a:gd name="connsiteY8" fmla="*/ 61246 h 61246"/>
                  <a:gd name="connsiteX9" fmla="*/ 36105 w 397867"/>
                  <a:gd name="connsiteY9" fmla="*/ 61246 h 61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97867" h="61246">
                    <a:moveTo>
                      <a:pt x="36105" y="61246"/>
                    </a:moveTo>
                    <a:lnTo>
                      <a:pt x="19822" y="47793"/>
                    </a:lnTo>
                    <a:lnTo>
                      <a:pt x="379460" y="9912"/>
                    </a:lnTo>
                    <a:lnTo>
                      <a:pt x="298400" y="61246"/>
                    </a:lnTo>
                    <a:lnTo>
                      <a:pt x="313267" y="61246"/>
                    </a:lnTo>
                    <a:lnTo>
                      <a:pt x="397867" y="7434"/>
                    </a:lnTo>
                    <a:lnTo>
                      <a:pt x="395389" y="0"/>
                    </a:lnTo>
                    <a:lnTo>
                      <a:pt x="0" y="41775"/>
                    </a:lnTo>
                    <a:lnTo>
                      <a:pt x="23716" y="61246"/>
                    </a:lnTo>
                    <a:lnTo>
                      <a:pt x="36105" y="61246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5" name="Freihandform 547">
                <a:extLst>
                  <a:ext uri="{FF2B5EF4-FFF2-40B4-BE49-F238E27FC236}">
                    <a16:creationId xmlns:a16="http://schemas.microsoft.com/office/drawing/2014/main" id="{5AA4754E-751C-46B8-A194-490704E947F9}"/>
                  </a:ext>
                </a:extLst>
              </p:cNvPr>
              <p:cNvSpPr/>
              <p:nvPr/>
            </p:nvSpPr>
            <p:spPr>
              <a:xfrm>
                <a:off x="3243783" y="5708600"/>
                <a:ext cx="106546" cy="64078"/>
              </a:xfrm>
              <a:custGeom>
                <a:avLst/>
                <a:gdLst>
                  <a:gd name="connsiteX0" fmla="*/ 14867 w 106546"/>
                  <a:gd name="connsiteY0" fmla="*/ 64079 h 64078"/>
                  <a:gd name="connsiteX1" fmla="*/ 93803 w 106546"/>
                  <a:gd name="connsiteY1" fmla="*/ 13807 h 64078"/>
                  <a:gd name="connsiteX2" fmla="*/ 98405 w 106546"/>
                  <a:gd name="connsiteY2" fmla="*/ 64079 h 64078"/>
                  <a:gd name="connsiteX3" fmla="*/ 106547 w 106546"/>
                  <a:gd name="connsiteY3" fmla="*/ 64079 h 64078"/>
                  <a:gd name="connsiteX4" fmla="*/ 100529 w 106546"/>
                  <a:gd name="connsiteY4" fmla="*/ 0 h 64078"/>
                  <a:gd name="connsiteX5" fmla="*/ 0 w 106546"/>
                  <a:gd name="connsiteY5" fmla="*/ 64079 h 64078"/>
                  <a:gd name="connsiteX6" fmla="*/ 14867 w 106546"/>
                  <a:gd name="connsiteY6" fmla="*/ 64079 h 64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6546" h="64078">
                    <a:moveTo>
                      <a:pt x="14867" y="64079"/>
                    </a:moveTo>
                    <a:lnTo>
                      <a:pt x="93803" y="13807"/>
                    </a:lnTo>
                    <a:lnTo>
                      <a:pt x="98405" y="64079"/>
                    </a:lnTo>
                    <a:lnTo>
                      <a:pt x="106547" y="64079"/>
                    </a:lnTo>
                    <a:lnTo>
                      <a:pt x="100529" y="0"/>
                    </a:lnTo>
                    <a:lnTo>
                      <a:pt x="0" y="64079"/>
                    </a:lnTo>
                    <a:lnTo>
                      <a:pt x="14867" y="64079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6" name="Freihandform 548">
                <a:extLst>
                  <a:ext uri="{FF2B5EF4-FFF2-40B4-BE49-F238E27FC236}">
                    <a16:creationId xmlns:a16="http://schemas.microsoft.com/office/drawing/2014/main" id="{599E268F-DB6D-42AA-AC81-38F8BB0A9F20}"/>
                  </a:ext>
                </a:extLst>
              </p:cNvPr>
              <p:cNvSpPr/>
              <p:nvPr/>
            </p:nvSpPr>
            <p:spPr>
              <a:xfrm>
                <a:off x="3336524" y="5708954"/>
                <a:ext cx="130970" cy="63724"/>
              </a:xfrm>
              <a:custGeom>
                <a:avLst/>
                <a:gdLst>
                  <a:gd name="connsiteX0" fmla="*/ 13805 w 130970"/>
                  <a:gd name="connsiteY0" fmla="*/ 63725 h 63724"/>
                  <a:gd name="connsiteX1" fmla="*/ 9203 w 130970"/>
                  <a:gd name="connsiteY1" fmla="*/ 13453 h 63724"/>
                  <a:gd name="connsiteX2" fmla="*/ 112564 w 130970"/>
                  <a:gd name="connsiteY2" fmla="*/ 63725 h 63724"/>
                  <a:gd name="connsiteX3" fmla="*/ 130971 w 130970"/>
                  <a:gd name="connsiteY3" fmla="*/ 63725 h 63724"/>
                  <a:gd name="connsiteX4" fmla="*/ 0 w 130970"/>
                  <a:gd name="connsiteY4" fmla="*/ 0 h 63724"/>
                  <a:gd name="connsiteX5" fmla="*/ 5664 w 130970"/>
                  <a:gd name="connsiteY5" fmla="*/ 63725 h 63724"/>
                  <a:gd name="connsiteX6" fmla="*/ 13805 w 130970"/>
                  <a:gd name="connsiteY6" fmla="*/ 63725 h 63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970" h="63724">
                    <a:moveTo>
                      <a:pt x="13805" y="63725"/>
                    </a:moveTo>
                    <a:lnTo>
                      <a:pt x="9203" y="13453"/>
                    </a:lnTo>
                    <a:lnTo>
                      <a:pt x="112564" y="63725"/>
                    </a:lnTo>
                    <a:lnTo>
                      <a:pt x="130971" y="63725"/>
                    </a:lnTo>
                    <a:lnTo>
                      <a:pt x="0" y="0"/>
                    </a:lnTo>
                    <a:lnTo>
                      <a:pt x="5664" y="63725"/>
                    </a:lnTo>
                    <a:lnTo>
                      <a:pt x="13805" y="63725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7" name="Freihandform 549">
                <a:extLst>
                  <a:ext uri="{FF2B5EF4-FFF2-40B4-BE49-F238E27FC236}">
                    <a16:creationId xmlns:a16="http://schemas.microsoft.com/office/drawing/2014/main" id="{505AD0F2-4EAE-4589-9E73-4C61E1C9E2B4}"/>
                  </a:ext>
                </a:extLst>
              </p:cNvPr>
              <p:cNvSpPr/>
              <p:nvPr/>
            </p:nvSpPr>
            <p:spPr>
              <a:xfrm>
                <a:off x="3339356" y="5711786"/>
                <a:ext cx="316807" cy="60892"/>
              </a:xfrm>
              <a:custGeom>
                <a:avLst/>
                <a:gdLst>
                  <a:gd name="connsiteX0" fmla="*/ 128139 w 316807"/>
                  <a:gd name="connsiteY0" fmla="*/ 60892 h 60892"/>
                  <a:gd name="connsiteX1" fmla="*/ 30796 w 316807"/>
                  <a:gd name="connsiteY1" fmla="*/ 13453 h 60892"/>
                  <a:gd name="connsiteX2" fmla="*/ 1062 w 316807"/>
                  <a:gd name="connsiteY2" fmla="*/ 7788 h 60892"/>
                  <a:gd name="connsiteX3" fmla="*/ 1770 w 316807"/>
                  <a:gd name="connsiteY3" fmla="*/ 3894 h 60892"/>
                  <a:gd name="connsiteX4" fmla="*/ 3540 w 316807"/>
                  <a:gd name="connsiteY4" fmla="*/ 354 h 60892"/>
                  <a:gd name="connsiteX5" fmla="*/ 30796 w 316807"/>
                  <a:gd name="connsiteY5" fmla="*/ 13453 h 60892"/>
                  <a:gd name="connsiteX6" fmla="*/ 274685 w 316807"/>
                  <a:gd name="connsiteY6" fmla="*/ 60892 h 60892"/>
                  <a:gd name="connsiteX7" fmla="*/ 316807 w 316807"/>
                  <a:gd name="connsiteY7" fmla="*/ 60892 h 60892"/>
                  <a:gd name="connsiteX8" fmla="*/ 2478 w 316807"/>
                  <a:gd name="connsiteY8" fmla="*/ 0 h 60892"/>
                  <a:gd name="connsiteX9" fmla="*/ 0 w 316807"/>
                  <a:gd name="connsiteY9" fmla="*/ 7434 h 60892"/>
                  <a:gd name="connsiteX10" fmla="*/ 109732 w 316807"/>
                  <a:gd name="connsiteY10" fmla="*/ 60892 h 60892"/>
                  <a:gd name="connsiteX11" fmla="*/ 128139 w 316807"/>
                  <a:gd name="connsiteY11" fmla="*/ 60892 h 60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16807" h="60892">
                    <a:moveTo>
                      <a:pt x="128139" y="60892"/>
                    </a:moveTo>
                    <a:lnTo>
                      <a:pt x="30796" y="13453"/>
                    </a:lnTo>
                    <a:lnTo>
                      <a:pt x="1062" y="7788"/>
                    </a:lnTo>
                    <a:lnTo>
                      <a:pt x="1770" y="3894"/>
                    </a:lnTo>
                    <a:lnTo>
                      <a:pt x="3540" y="354"/>
                    </a:lnTo>
                    <a:lnTo>
                      <a:pt x="30796" y="13453"/>
                    </a:lnTo>
                    <a:lnTo>
                      <a:pt x="274685" y="60892"/>
                    </a:lnTo>
                    <a:lnTo>
                      <a:pt x="316807" y="60892"/>
                    </a:lnTo>
                    <a:lnTo>
                      <a:pt x="2478" y="0"/>
                    </a:lnTo>
                    <a:lnTo>
                      <a:pt x="0" y="7434"/>
                    </a:lnTo>
                    <a:lnTo>
                      <a:pt x="109732" y="60892"/>
                    </a:lnTo>
                    <a:lnTo>
                      <a:pt x="128139" y="60892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  <p:sp>
            <p:nvSpPr>
              <p:cNvPr id="458" name="Freihandform 550">
                <a:extLst>
                  <a:ext uri="{FF2B5EF4-FFF2-40B4-BE49-F238E27FC236}">
                    <a16:creationId xmlns:a16="http://schemas.microsoft.com/office/drawing/2014/main" id="{467A642D-91EE-4DE6-8C02-BAD8E75FD044}"/>
                  </a:ext>
                </a:extLst>
              </p:cNvPr>
              <p:cNvSpPr/>
              <p:nvPr/>
            </p:nvSpPr>
            <p:spPr>
              <a:xfrm>
                <a:off x="3340418" y="5712140"/>
                <a:ext cx="29733" cy="13098"/>
              </a:xfrm>
              <a:custGeom>
                <a:avLst/>
                <a:gdLst>
                  <a:gd name="connsiteX0" fmla="*/ 0 w 29733"/>
                  <a:gd name="connsiteY0" fmla="*/ 7434 h 13098"/>
                  <a:gd name="connsiteX1" fmla="*/ 29734 w 29733"/>
                  <a:gd name="connsiteY1" fmla="*/ 13099 h 13098"/>
                  <a:gd name="connsiteX2" fmla="*/ 2478 w 29733"/>
                  <a:gd name="connsiteY2" fmla="*/ 0 h 13098"/>
                  <a:gd name="connsiteX3" fmla="*/ 708 w 29733"/>
                  <a:gd name="connsiteY3" fmla="*/ 3540 h 13098"/>
                  <a:gd name="connsiteX4" fmla="*/ 0 w 29733"/>
                  <a:gd name="connsiteY4" fmla="*/ 7434 h 13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733" h="13098">
                    <a:moveTo>
                      <a:pt x="0" y="7434"/>
                    </a:moveTo>
                    <a:lnTo>
                      <a:pt x="29734" y="13099"/>
                    </a:lnTo>
                    <a:lnTo>
                      <a:pt x="2478" y="0"/>
                    </a:lnTo>
                    <a:lnTo>
                      <a:pt x="708" y="3540"/>
                    </a:lnTo>
                    <a:lnTo>
                      <a:pt x="0" y="7434"/>
                    </a:lnTo>
                    <a:close/>
                  </a:path>
                </a:pathLst>
              </a:custGeom>
              <a:solidFill>
                <a:srgbClr val="FFFFFF">
                  <a:alpha val="13000"/>
                </a:srgbClr>
              </a:solidFill>
              <a:ln w="35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463" dirty="0"/>
              </a:p>
            </p:txBody>
          </p:sp>
        </p:grpSp>
        <p:sp>
          <p:nvSpPr>
            <p:cNvPr id="360" name="Freihandform 452">
              <a:extLst>
                <a:ext uri="{FF2B5EF4-FFF2-40B4-BE49-F238E27FC236}">
                  <a16:creationId xmlns:a16="http://schemas.microsoft.com/office/drawing/2014/main" id="{3E02BE56-78C0-4483-AE8F-B99E4A195C00}"/>
                </a:ext>
              </a:extLst>
            </p:cNvPr>
            <p:cNvSpPr/>
            <p:nvPr/>
          </p:nvSpPr>
          <p:spPr>
            <a:xfrm>
              <a:off x="2766920" y="4633586"/>
              <a:ext cx="50976" cy="50987"/>
            </a:xfrm>
            <a:custGeom>
              <a:avLst/>
              <a:gdLst>
                <a:gd name="connsiteX0" fmla="*/ 9262 w 50976"/>
                <a:gd name="connsiteY0" fmla="*/ 45154 h 50987"/>
                <a:gd name="connsiteX1" fmla="*/ 45155 w 50976"/>
                <a:gd name="connsiteY1" fmla="*/ 41720 h 50987"/>
                <a:gd name="connsiteX2" fmla="*/ 41722 w 50976"/>
                <a:gd name="connsiteY2" fmla="*/ 5822 h 50987"/>
                <a:gd name="connsiteX3" fmla="*/ 5829 w 50976"/>
                <a:gd name="connsiteY3" fmla="*/ 9256 h 50987"/>
                <a:gd name="connsiteX4" fmla="*/ 5723 w 50976"/>
                <a:gd name="connsiteY4" fmla="*/ 9398 h 50987"/>
                <a:gd name="connsiteX5" fmla="*/ 9262 w 50976"/>
                <a:gd name="connsiteY5" fmla="*/ 45154 h 50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6" h="50987">
                  <a:moveTo>
                    <a:pt x="9262" y="45154"/>
                  </a:moveTo>
                  <a:cubicBezTo>
                    <a:pt x="20130" y="54111"/>
                    <a:pt x="36164" y="52589"/>
                    <a:pt x="45155" y="41720"/>
                  </a:cubicBezTo>
                  <a:cubicBezTo>
                    <a:pt x="54111" y="30852"/>
                    <a:pt x="52553" y="14779"/>
                    <a:pt x="41722" y="5822"/>
                  </a:cubicBezTo>
                  <a:cubicBezTo>
                    <a:pt x="30855" y="-3135"/>
                    <a:pt x="14784" y="-1577"/>
                    <a:pt x="5829" y="9256"/>
                  </a:cubicBezTo>
                  <a:cubicBezTo>
                    <a:pt x="5793" y="9327"/>
                    <a:pt x="5758" y="9362"/>
                    <a:pt x="5723" y="9398"/>
                  </a:cubicBezTo>
                  <a:cubicBezTo>
                    <a:pt x="-3127" y="20266"/>
                    <a:pt x="-1534" y="36233"/>
                    <a:pt x="9262" y="4515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1" name="Freihandform 453">
              <a:extLst>
                <a:ext uri="{FF2B5EF4-FFF2-40B4-BE49-F238E27FC236}">
                  <a16:creationId xmlns:a16="http://schemas.microsoft.com/office/drawing/2014/main" id="{A655F2F6-CB34-4D62-8120-F4DAE5444199}"/>
                </a:ext>
              </a:extLst>
            </p:cNvPr>
            <p:cNvSpPr/>
            <p:nvPr/>
          </p:nvSpPr>
          <p:spPr>
            <a:xfrm>
              <a:off x="2126181" y="2791077"/>
              <a:ext cx="90754" cy="90625"/>
            </a:xfrm>
            <a:custGeom>
              <a:avLst/>
              <a:gdLst>
                <a:gd name="connsiteX0" fmla="*/ 16741 w 90754"/>
                <a:gd name="connsiteY0" fmla="*/ 80361 h 90625"/>
                <a:gd name="connsiteX1" fmla="*/ 80492 w 90754"/>
                <a:gd name="connsiteY1" fmla="*/ 74025 h 90625"/>
                <a:gd name="connsiteX2" fmla="*/ 74156 w 90754"/>
                <a:gd name="connsiteY2" fmla="*/ 10264 h 90625"/>
                <a:gd name="connsiteX3" fmla="*/ 10405 w 90754"/>
                <a:gd name="connsiteY3" fmla="*/ 16601 h 90625"/>
                <a:gd name="connsiteX4" fmla="*/ 10370 w 90754"/>
                <a:gd name="connsiteY4" fmla="*/ 16637 h 90625"/>
                <a:gd name="connsiteX5" fmla="*/ 16246 w 90754"/>
                <a:gd name="connsiteY5" fmla="*/ 79937 h 90625"/>
                <a:gd name="connsiteX6" fmla="*/ 16741 w 90754"/>
                <a:gd name="connsiteY6" fmla="*/ 80361 h 9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754" h="90625">
                  <a:moveTo>
                    <a:pt x="16741" y="80361"/>
                  </a:moveTo>
                  <a:cubicBezTo>
                    <a:pt x="36104" y="96222"/>
                    <a:pt x="64634" y="93390"/>
                    <a:pt x="80492" y="74025"/>
                  </a:cubicBezTo>
                  <a:cubicBezTo>
                    <a:pt x="96350" y="54659"/>
                    <a:pt x="93518" y="26125"/>
                    <a:pt x="74156" y="10264"/>
                  </a:cubicBezTo>
                  <a:cubicBezTo>
                    <a:pt x="54829" y="-5596"/>
                    <a:pt x="26263" y="-2764"/>
                    <a:pt x="10405" y="16601"/>
                  </a:cubicBezTo>
                  <a:cubicBezTo>
                    <a:pt x="10405" y="16601"/>
                    <a:pt x="10370" y="16637"/>
                    <a:pt x="10370" y="16637"/>
                  </a:cubicBezTo>
                  <a:cubicBezTo>
                    <a:pt x="-5488" y="35754"/>
                    <a:pt x="-2869" y="64076"/>
                    <a:pt x="16246" y="79937"/>
                  </a:cubicBezTo>
                  <a:cubicBezTo>
                    <a:pt x="16387" y="80078"/>
                    <a:pt x="16564" y="80220"/>
                    <a:pt x="16741" y="8036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2" name="Freihandform 454">
              <a:extLst>
                <a:ext uri="{FF2B5EF4-FFF2-40B4-BE49-F238E27FC236}">
                  <a16:creationId xmlns:a16="http://schemas.microsoft.com/office/drawing/2014/main" id="{E21D5921-91A2-4D2C-AD71-81A07209BE89}"/>
                </a:ext>
              </a:extLst>
            </p:cNvPr>
            <p:cNvSpPr/>
            <p:nvPr/>
          </p:nvSpPr>
          <p:spPr>
            <a:xfrm>
              <a:off x="2284250" y="3872961"/>
              <a:ext cx="235884" cy="235778"/>
            </a:xfrm>
            <a:custGeom>
              <a:avLst/>
              <a:gdLst>
                <a:gd name="connsiteX0" fmla="*/ 43094 w 235884"/>
                <a:gd name="connsiteY0" fmla="*/ 208892 h 235778"/>
                <a:gd name="connsiteX1" fmla="*/ 209002 w 235884"/>
                <a:gd name="connsiteY1" fmla="*/ 192819 h 235778"/>
                <a:gd name="connsiteX2" fmla="*/ 192931 w 235884"/>
                <a:gd name="connsiteY2" fmla="*/ 26887 h 235778"/>
                <a:gd name="connsiteX3" fmla="*/ 27023 w 235884"/>
                <a:gd name="connsiteY3" fmla="*/ 42960 h 235778"/>
                <a:gd name="connsiteX4" fmla="*/ 26811 w 235884"/>
                <a:gd name="connsiteY4" fmla="*/ 43207 h 235778"/>
                <a:gd name="connsiteX5" fmla="*/ 42810 w 235884"/>
                <a:gd name="connsiteY5" fmla="*/ 208644 h 235778"/>
                <a:gd name="connsiteX6" fmla="*/ 43094 w 235884"/>
                <a:gd name="connsiteY6" fmla="*/ 208892 h 235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5884" h="235778">
                  <a:moveTo>
                    <a:pt x="43094" y="208892"/>
                  </a:moveTo>
                  <a:cubicBezTo>
                    <a:pt x="93358" y="250277"/>
                    <a:pt x="167622" y="243091"/>
                    <a:pt x="209002" y="192819"/>
                  </a:cubicBezTo>
                  <a:cubicBezTo>
                    <a:pt x="250381" y="142547"/>
                    <a:pt x="243195" y="68273"/>
                    <a:pt x="192931" y="26887"/>
                  </a:cubicBezTo>
                  <a:cubicBezTo>
                    <a:pt x="142702" y="-14499"/>
                    <a:pt x="68403" y="-7312"/>
                    <a:pt x="27023" y="42960"/>
                  </a:cubicBezTo>
                  <a:cubicBezTo>
                    <a:pt x="26952" y="43031"/>
                    <a:pt x="26881" y="43137"/>
                    <a:pt x="26811" y="43207"/>
                  </a:cubicBezTo>
                  <a:cubicBezTo>
                    <a:pt x="-14463" y="93302"/>
                    <a:pt x="-7277" y="167400"/>
                    <a:pt x="42810" y="208644"/>
                  </a:cubicBezTo>
                  <a:cubicBezTo>
                    <a:pt x="42917" y="208750"/>
                    <a:pt x="42987" y="208821"/>
                    <a:pt x="43094" y="20889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3" name="Freihandform 455">
              <a:extLst>
                <a:ext uri="{FF2B5EF4-FFF2-40B4-BE49-F238E27FC236}">
                  <a16:creationId xmlns:a16="http://schemas.microsoft.com/office/drawing/2014/main" id="{8BF85AF0-594C-4272-8468-4D2483F6B480}"/>
                </a:ext>
              </a:extLst>
            </p:cNvPr>
            <p:cNvSpPr/>
            <p:nvPr/>
          </p:nvSpPr>
          <p:spPr>
            <a:xfrm>
              <a:off x="3094566" y="3961976"/>
              <a:ext cx="73658" cy="73006"/>
            </a:xfrm>
            <a:custGeom>
              <a:avLst/>
              <a:gdLst>
                <a:gd name="connsiteX0" fmla="*/ 14706 w 73658"/>
                <a:gd name="connsiteY0" fmla="*/ 63586 h 73006"/>
                <a:gd name="connsiteX1" fmla="*/ 64227 w 73658"/>
                <a:gd name="connsiteY1" fmla="*/ 61887 h 73006"/>
                <a:gd name="connsiteX2" fmla="*/ 62528 w 73658"/>
                <a:gd name="connsiteY2" fmla="*/ 12323 h 73006"/>
                <a:gd name="connsiteX3" fmla="*/ 58953 w 73658"/>
                <a:gd name="connsiteY3" fmla="*/ 9421 h 73006"/>
                <a:gd name="connsiteX4" fmla="*/ 9432 w 73658"/>
                <a:gd name="connsiteY4" fmla="*/ 11120 h 73006"/>
                <a:gd name="connsiteX5" fmla="*/ 11131 w 73658"/>
                <a:gd name="connsiteY5" fmla="*/ 60683 h 73006"/>
                <a:gd name="connsiteX6" fmla="*/ 14706 w 73658"/>
                <a:gd name="connsiteY6" fmla="*/ 63586 h 7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658" h="73006">
                  <a:moveTo>
                    <a:pt x="14706" y="63586"/>
                  </a:moveTo>
                  <a:cubicBezTo>
                    <a:pt x="28865" y="76791"/>
                    <a:pt x="51024" y="76013"/>
                    <a:pt x="64227" y="61887"/>
                  </a:cubicBezTo>
                  <a:cubicBezTo>
                    <a:pt x="77431" y="47726"/>
                    <a:pt x="76687" y="25564"/>
                    <a:pt x="62528" y="12323"/>
                  </a:cubicBezTo>
                  <a:cubicBezTo>
                    <a:pt x="61395" y="11297"/>
                    <a:pt x="60192" y="10306"/>
                    <a:pt x="58953" y="9421"/>
                  </a:cubicBezTo>
                  <a:cubicBezTo>
                    <a:pt x="44794" y="-3785"/>
                    <a:pt x="22635" y="-3006"/>
                    <a:pt x="9432" y="11120"/>
                  </a:cubicBezTo>
                  <a:cubicBezTo>
                    <a:pt x="-3771" y="25281"/>
                    <a:pt x="-3028" y="47443"/>
                    <a:pt x="11131" y="60683"/>
                  </a:cubicBezTo>
                  <a:cubicBezTo>
                    <a:pt x="12264" y="61710"/>
                    <a:pt x="13467" y="62701"/>
                    <a:pt x="14706" y="6358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4" name="Freihandform 456">
              <a:extLst>
                <a:ext uri="{FF2B5EF4-FFF2-40B4-BE49-F238E27FC236}">
                  <a16:creationId xmlns:a16="http://schemas.microsoft.com/office/drawing/2014/main" id="{03C2BF9F-4B16-4788-A115-F40BC0BC5D81}"/>
                </a:ext>
              </a:extLst>
            </p:cNvPr>
            <p:cNvSpPr/>
            <p:nvPr/>
          </p:nvSpPr>
          <p:spPr>
            <a:xfrm>
              <a:off x="517409" y="3386000"/>
              <a:ext cx="50973" cy="50987"/>
            </a:xfrm>
            <a:custGeom>
              <a:avLst/>
              <a:gdLst>
                <a:gd name="connsiteX0" fmla="*/ 9266 w 50973"/>
                <a:gd name="connsiteY0" fmla="*/ 45154 h 50987"/>
                <a:gd name="connsiteX1" fmla="*/ 45145 w 50973"/>
                <a:gd name="connsiteY1" fmla="*/ 41720 h 50987"/>
                <a:gd name="connsiteX2" fmla="*/ 41708 w 50973"/>
                <a:gd name="connsiteY2" fmla="*/ 5822 h 50987"/>
                <a:gd name="connsiteX3" fmla="*/ 5829 w 50973"/>
                <a:gd name="connsiteY3" fmla="*/ 9256 h 50987"/>
                <a:gd name="connsiteX4" fmla="*/ 5726 w 50973"/>
                <a:gd name="connsiteY4" fmla="*/ 9397 h 50987"/>
                <a:gd name="connsiteX5" fmla="*/ 9266 w 50973"/>
                <a:gd name="connsiteY5" fmla="*/ 45154 h 50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3" h="50987">
                  <a:moveTo>
                    <a:pt x="9266" y="45154"/>
                  </a:moveTo>
                  <a:cubicBezTo>
                    <a:pt x="20122" y="54111"/>
                    <a:pt x="36186" y="52589"/>
                    <a:pt x="45145" y="41720"/>
                  </a:cubicBezTo>
                  <a:cubicBezTo>
                    <a:pt x="54104" y="30852"/>
                    <a:pt x="52564" y="14779"/>
                    <a:pt x="41708" y="5822"/>
                  </a:cubicBezTo>
                  <a:cubicBezTo>
                    <a:pt x="30851" y="-3135"/>
                    <a:pt x="14788" y="-1577"/>
                    <a:pt x="5829" y="9256"/>
                  </a:cubicBezTo>
                  <a:cubicBezTo>
                    <a:pt x="5797" y="9327"/>
                    <a:pt x="5761" y="9362"/>
                    <a:pt x="5726" y="9397"/>
                  </a:cubicBezTo>
                  <a:cubicBezTo>
                    <a:pt x="-3123" y="20266"/>
                    <a:pt x="-1541" y="36233"/>
                    <a:pt x="9266" y="4515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5" name="Freihandform 457">
              <a:extLst>
                <a:ext uri="{FF2B5EF4-FFF2-40B4-BE49-F238E27FC236}">
                  <a16:creationId xmlns:a16="http://schemas.microsoft.com/office/drawing/2014/main" id="{C3D1AB5E-56DF-4043-9BD2-FFF6CE3D778D}"/>
                </a:ext>
              </a:extLst>
            </p:cNvPr>
            <p:cNvSpPr/>
            <p:nvPr/>
          </p:nvSpPr>
          <p:spPr>
            <a:xfrm>
              <a:off x="1954603" y="2660846"/>
              <a:ext cx="49412" cy="49569"/>
            </a:xfrm>
            <a:custGeom>
              <a:avLst/>
              <a:gdLst>
                <a:gd name="connsiteX0" fmla="*/ 7793 w 49412"/>
                <a:gd name="connsiteY0" fmla="*/ 43846 h 49569"/>
                <a:gd name="connsiteX1" fmla="*/ 43544 w 49412"/>
                <a:gd name="connsiteY1" fmla="*/ 40306 h 49569"/>
                <a:gd name="connsiteX2" fmla="*/ 40429 w 49412"/>
                <a:gd name="connsiteY2" fmla="*/ 4903 h 49569"/>
                <a:gd name="connsiteX3" fmla="*/ 40005 w 49412"/>
                <a:gd name="connsiteY3" fmla="*/ 4549 h 49569"/>
                <a:gd name="connsiteX4" fmla="*/ 4536 w 49412"/>
                <a:gd name="connsiteY4" fmla="*/ 10957 h 49569"/>
                <a:gd name="connsiteX5" fmla="*/ 7793 w 49412"/>
                <a:gd name="connsiteY5" fmla="*/ 43846 h 49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412" h="49569">
                  <a:moveTo>
                    <a:pt x="7793" y="43846"/>
                  </a:moveTo>
                  <a:cubicBezTo>
                    <a:pt x="18660" y="52697"/>
                    <a:pt x="34624" y="51104"/>
                    <a:pt x="43544" y="40306"/>
                  </a:cubicBezTo>
                  <a:cubicBezTo>
                    <a:pt x="52464" y="29649"/>
                    <a:pt x="51049" y="13825"/>
                    <a:pt x="40429" y="4903"/>
                  </a:cubicBezTo>
                  <a:cubicBezTo>
                    <a:pt x="40288" y="4761"/>
                    <a:pt x="40146" y="4655"/>
                    <a:pt x="40005" y="4549"/>
                  </a:cubicBezTo>
                  <a:cubicBezTo>
                    <a:pt x="28430" y="-3487"/>
                    <a:pt x="12572" y="-584"/>
                    <a:pt x="4536" y="10957"/>
                  </a:cubicBezTo>
                  <a:cubicBezTo>
                    <a:pt x="-2579" y="21259"/>
                    <a:pt x="-1198" y="35172"/>
                    <a:pt x="7793" y="4384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6" name="Freihandform 458">
              <a:extLst>
                <a:ext uri="{FF2B5EF4-FFF2-40B4-BE49-F238E27FC236}">
                  <a16:creationId xmlns:a16="http://schemas.microsoft.com/office/drawing/2014/main" id="{83C29FDD-C4B5-4E88-B06D-0CF337C3A728}"/>
                </a:ext>
              </a:extLst>
            </p:cNvPr>
            <p:cNvSpPr/>
            <p:nvPr/>
          </p:nvSpPr>
          <p:spPr>
            <a:xfrm>
              <a:off x="1385027" y="2070425"/>
              <a:ext cx="50962" cy="51070"/>
            </a:xfrm>
            <a:custGeom>
              <a:avLst/>
              <a:gdLst>
                <a:gd name="connsiteX0" fmla="*/ 9239 w 50962"/>
                <a:gd name="connsiteY0" fmla="*/ 45170 h 51070"/>
                <a:gd name="connsiteX1" fmla="*/ 45344 w 50962"/>
                <a:gd name="connsiteY1" fmla="*/ 41983 h 51070"/>
                <a:gd name="connsiteX2" fmla="*/ 41805 w 50962"/>
                <a:gd name="connsiteY2" fmla="*/ 5873 h 51070"/>
                <a:gd name="connsiteX3" fmla="*/ 5876 w 50962"/>
                <a:gd name="connsiteY3" fmla="*/ 9236 h 51070"/>
                <a:gd name="connsiteX4" fmla="*/ 9239 w 50962"/>
                <a:gd name="connsiteY4" fmla="*/ 45170 h 51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62" h="51070">
                  <a:moveTo>
                    <a:pt x="9239" y="45170"/>
                  </a:moveTo>
                  <a:cubicBezTo>
                    <a:pt x="20141" y="54144"/>
                    <a:pt x="36212" y="52725"/>
                    <a:pt x="45344" y="41983"/>
                  </a:cubicBezTo>
                  <a:cubicBezTo>
                    <a:pt x="54052" y="30945"/>
                    <a:pt x="52459" y="15014"/>
                    <a:pt x="41805" y="5873"/>
                  </a:cubicBezTo>
                  <a:cubicBezTo>
                    <a:pt x="30937" y="-3123"/>
                    <a:pt x="14867" y="-1615"/>
                    <a:pt x="5876" y="9236"/>
                  </a:cubicBezTo>
                  <a:cubicBezTo>
                    <a:pt x="-3115" y="20087"/>
                    <a:pt x="-1628" y="36174"/>
                    <a:pt x="9239" y="4517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7" name="Freihandform 459">
              <a:extLst>
                <a:ext uri="{FF2B5EF4-FFF2-40B4-BE49-F238E27FC236}">
                  <a16:creationId xmlns:a16="http://schemas.microsoft.com/office/drawing/2014/main" id="{A819B971-35DC-485F-86B3-6F3C1DC0CDC5}"/>
                </a:ext>
              </a:extLst>
            </p:cNvPr>
            <p:cNvSpPr/>
            <p:nvPr/>
          </p:nvSpPr>
          <p:spPr>
            <a:xfrm>
              <a:off x="-215317" y="3265973"/>
              <a:ext cx="52443" cy="52308"/>
            </a:xfrm>
            <a:custGeom>
              <a:avLst/>
              <a:gdLst>
                <a:gd name="connsiteX0" fmla="*/ 9266 w 52443"/>
                <a:gd name="connsiteY0" fmla="*/ 45166 h 52308"/>
                <a:gd name="connsiteX1" fmla="*/ 45304 w 52443"/>
                <a:gd name="connsiteY1" fmla="*/ 44493 h 52308"/>
                <a:gd name="connsiteX2" fmla="*/ 44645 w 52443"/>
                <a:gd name="connsiteY2" fmla="*/ 8454 h 52308"/>
                <a:gd name="connsiteX3" fmla="*/ 41478 w 52443"/>
                <a:gd name="connsiteY3" fmla="*/ 5869 h 52308"/>
                <a:gd name="connsiteX4" fmla="*/ 6073 w 52443"/>
                <a:gd name="connsiteY4" fmla="*/ 8984 h 52308"/>
                <a:gd name="connsiteX5" fmla="*/ 5726 w 52443"/>
                <a:gd name="connsiteY5" fmla="*/ 9409 h 52308"/>
                <a:gd name="connsiteX6" fmla="*/ 9266 w 52443"/>
                <a:gd name="connsiteY6" fmla="*/ 45166 h 52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443" h="52308">
                  <a:moveTo>
                    <a:pt x="9266" y="45166"/>
                  </a:moveTo>
                  <a:cubicBezTo>
                    <a:pt x="19400" y="54937"/>
                    <a:pt x="35534" y="54654"/>
                    <a:pt x="45304" y="44493"/>
                  </a:cubicBezTo>
                  <a:cubicBezTo>
                    <a:pt x="55074" y="34368"/>
                    <a:pt x="54780" y="18224"/>
                    <a:pt x="44645" y="8454"/>
                  </a:cubicBezTo>
                  <a:cubicBezTo>
                    <a:pt x="43662" y="7533"/>
                    <a:pt x="42603" y="6648"/>
                    <a:pt x="41478" y="5869"/>
                  </a:cubicBezTo>
                  <a:cubicBezTo>
                    <a:pt x="30841" y="-3052"/>
                    <a:pt x="14990" y="-1637"/>
                    <a:pt x="6073" y="8984"/>
                  </a:cubicBezTo>
                  <a:cubicBezTo>
                    <a:pt x="5956" y="9126"/>
                    <a:pt x="5839" y="9268"/>
                    <a:pt x="5726" y="9409"/>
                  </a:cubicBezTo>
                  <a:cubicBezTo>
                    <a:pt x="-3123" y="20278"/>
                    <a:pt x="-1541" y="36244"/>
                    <a:pt x="9266" y="4516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8" name="Freihandform 460">
              <a:extLst>
                <a:ext uri="{FF2B5EF4-FFF2-40B4-BE49-F238E27FC236}">
                  <a16:creationId xmlns:a16="http://schemas.microsoft.com/office/drawing/2014/main" id="{DA2FCCDA-FAAC-4D46-B141-E7B1FE10BEB2}"/>
                </a:ext>
              </a:extLst>
            </p:cNvPr>
            <p:cNvSpPr/>
            <p:nvPr/>
          </p:nvSpPr>
          <p:spPr>
            <a:xfrm>
              <a:off x="781993" y="2894115"/>
              <a:ext cx="92744" cy="92761"/>
            </a:xfrm>
            <a:custGeom>
              <a:avLst/>
              <a:gdLst>
                <a:gd name="connsiteX0" fmla="*/ 17243 w 92744"/>
                <a:gd name="connsiteY0" fmla="*/ 82469 h 92761"/>
                <a:gd name="connsiteX1" fmla="*/ 82452 w 92744"/>
                <a:gd name="connsiteY1" fmla="*/ 75530 h 92761"/>
                <a:gd name="connsiteX2" fmla="*/ 75500 w 92744"/>
                <a:gd name="connsiteY2" fmla="*/ 10283 h 92761"/>
                <a:gd name="connsiteX3" fmla="*/ 10517 w 92744"/>
                <a:gd name="connsiteY3" fmla="*/ 16974 h 92761"/>
                <a:gd name="connsiteX4" fmla="*/ 16966 w 92744"/>
                <a:gd name="connsiteY4" fmla="*/ 82256 h 92761"/>
                <a:gd name="connsiteX5" fmla="*/ 17243 w 92744"/>
                <a:gd name="connsiteY5" fmla="*/ 82469 h 92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744" h="92761">
                  <a:moveTo>
                    <a:pt x="17243" y="82469"/>
                  </a:moveTo>
                  <a:cubicBezTo>
                    <a:pt x="37168" y="98542"/>
                    <a:pt x="66364" y="95462"/>
                    <a:pt x="82452" y="75530"/>
                  </a:cubicBezTo>
                  <a:cubicBezTo>
                    <a:pt x="98540" y="55598"/>
                    <a:pt x="95429" y="26391"/>
                    <a:pt x="75500" y="10283"/>
                  </a:cubicBezTo>
                  <a:cubicBezTo>
                    <a:pt x="55681" y="-5719"/>
                    <a:pt x="26669" y="-2710"/>
                    <a:pt x="10517" y="16974"/>
                  </a:cubicBezTo>
                  <a:cubicBezTo>
                    <a:pt x="-5723" y="36764"/>
                    <a:pt x="-2835" y="66007"/>
                    <a:pt x="16966" y="82256"/>
                  </a:cubicBezTo>
                  <a:cubicBezTo>
                    <a:pt x="17059" y="82327"/>
                    <a:pt x="17151" y="82398"/>
                    <a:pt x="17243" y="8246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69" name="Freihandform 461">
              <a:extLst>
                <a:ext uri="{FF2B5EF4-FFF2-40B4-BE49-F238E27FC236}">
                  <a16:creationId xmlns:a16="http://schemas.microsoft.com/office/drawing/2014/main" id="{61A509C6-7B73-4BF5-9ADE-B884080C9C65}"/>
                </a:ext>
              </a:extLst>
            </p:cNvPr>
            <p:cNvSpPr/>
            <p:nvPr/>
          </p:nvSpPr>
          <p:spPr>
            <a:xfrm>
              <a:off x="3255197" y="5651765"/>
              <a:ext cx="50831" cy="50987"/>
            </a:xfrm>
            <a:custGeom>
              <a:avLst/>
              <a:gdLst>
                <a:gd name="connsiteX0" fmla="*/ 9117 w 50831"/>
                <a:gd name="connsiteY0" fmla="*/ 45154 h 50987"/>
                <a:gd name="connsiteX1" fmla="*/ 45010 w 50831"/>
                <a:gd name="connsiteY1" fmla="*/ 41720 h 50987"/>
                <a:gd name="connsiteX2" fmla="*/ 41577 w 50831"/>
                <a:gd name="connsiteY2" fmla="*/ 5822 h 50987"/>
                <a:gd name="connsiteX3" fmla="*/ 5684 w 50831"/>
                <a:gd name="connsiteY3" fmla="*/ 9256 h 50987"/>
                <a:gd name="connsiteX4" fmla="*/ 5577 w 50831"/>
                <a:gd name="connsiteY4" fmla="*/ 9397 h 50987"/>
                <a:gd name="connsiteX5" fmla="*/ 9117 w 50831"/>
                <a:gd name="connsiteY5" fmla="*/ 45154 h 50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31" h="50987">
                  <a:moveTo>
                    <a:pt x="9117" y="45154"/>
                  </a:moveTo>
                  <a:cubicBezTo>
                    <a:pt x="19984" y="54111"/>
                    <a:pt x="36019" y="52589"/>
                    <a:pt x="45010" y="41720"/>
                  </a:cubicBezTo>
                  <a:cubicBezTo>
                    <a:pt x="53966" y="30852"/>
                    <a:pt x="52408" y="14779"/>
                    <a:pt x="41577" y="5822"/>
                  </a:cubicBezTo>
                  <a:cubicBezTo>
                    <a:pt x="30709" y="-3135"/>
                    <a:pt x="14639" y="-1577"/>
                    <a:pt x="5684" y="9256"/>
                  </a:cubicBezTo>
                  <a:cubicBezTo>
                    <a:pt x="5648" y="9327"/>
                    <a:pt x="5613" y="9362"/>
                    <a:pt x="5577" y="9397"/>
                  </a:cubicBezTo>
                  <a:cubicBezTo>
                    <a:pt x="-3059" y="20337"/>
                    <a:pt x="-1502" y="36127"/>
                    <a:pt x="9117" y="4515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0" name="Freihandform 462">
              <a:extLst>
                <a:ext uri="{FF2B5EF4-FFF2-40B4-BE49-F238E27FC236}">
                  <a16:creationId xmlns:a16="http://schemas.microsoft.com/office/drawing/2014/main" id="{ABBD7598-7584-45B1-BFCC-B19AF8AC871F}"/>
                </a:ext>
              </a:extLst>
            </p:cNvPr>
            <p:cNvSpPr/>
            <p:nvPr/>
          </p:nvSpPr>
          <p:spPr>
            <a:xfrm>
              <a:off x="2343427" y="4650781"/>
              <a:ext cx="107740" cy="107616"/>
            </a:xfrm>
            <a:custGeom>
              <a:avLst/>
              <a:gdLst>
                <a:gd name="connsiteX0" fmla="*/ 20022 w 107740"/>
                <a:gd name="connsiteY0" fmla="*/ 95579 h 107616"/>
                <a:gd name="connsiteX1" fmla="*/ 95702 w 107740"/>
                <a:gd name="connsiteY1" fmla="*/ 87720 h 107616"/>
                <a:gd name="connsiteX2" fmla="*/ 87879 w 107740"/>
                <a:gd name="connsiteY2" fmla="*/ 12029 h 107616"/>
                <a:gd name="connsiteX3" fmla="*/ 12235 w 107740"/>
                <a:gd name="connsiteY3" fmla="*/ 19818 h 107616"/>
                <a:gd name="connsiteX4" fmla="*/ 19420 w 107740"/>
                <a:gd name="connsiteY4" fmla="*/ 95084 h 107616"/>
                <a:gd name="connsiteX5" fmla="*/ 20022 w 107740"/>
                <a:gd name="connsiteY5" fmla="*/ 95579 h 107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740" h="107616">
                  <a:moveTo>
                    <a:pt x="20022" y="95579"/>
                  </a:moveTo>
                  <a:cubicBezTo>
                    <a:pt x="43101" y="114307"/>
                    <a:pt x="76976" y="110802"/>
                    <a:pt x="95702" y="87720"/>
                  </a:cubicBezTo>
                  <a:cubicBezTo>
                    <a:pt x="114427" y="64672"/>
                    <a:pt x="110923" y="30792"/>
                    <a:pt x="87879" y="12029"/>
                  </a:cubicBezTo>
                  <a:cubicBezTo>
                    <a:pt x="64835" y="-6664"/>
                    <a:pt x="30995" y="-3194"/>
                    <a:pt x="12235" y="19818"/>
                  </a:cubicBezTo>
                  <a:cubicBezTo>
                    <a:pt x="-6562" y="42581"/>
                    <a:pt x="-3340" y="76285"/>
                    <a:pt x="19420" y="95084"/>
                  </a:cubicBezTo>
                  <a:cubicBezTo>
                    <a:pt x="19597" y="95260"/>
                    <a:pt x="19809" y="95402"/>
                    <a:pt x="20022" y="95579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1" name="Freihandform 463">
              <a:extLst>
                <a:ext uri="{FF2B5EF4-FFF2-40B4-BE49-F238E27FC236}">
                  <a16:creationId xmlns:a16="http://schemas.microsoft.com/office/drawing/2014/main" id="{C9CF3D38-5FF1-4FBB-868E-BC20C73F746D}"/>
                </a:ext>
              </a:extLst>
            </p:cNvPr>
            <p:cNvSpPr/>
            <p:nvPr/>
          </p:nvSpPr>
          <p:spPr>
            <a:xfrm>
              <a:off x="1377982" y="3045334"/>
              <a:ext cx="107611" cy="107639"/>
            </a:xfrm>
            <a:custGeom>
              <a:avLst/>
              <a:gdLst>
                <a:gd name="connsiteX0" fmla="*/ 17347 w 107611"/>
                <a:gd name="connsiteY0" fmla="*/ 93393 h 107639"/>
                <a:gd name="connsiteX1" fmla="*/ 93380 w 107611"/>
                <a:gd name="connsiteY1" fmla="*/ 90278 h 107639"/>
                <a:gd name="connsiteX2" fmla="*/ 90265 w 107611"/>
                <a:gd name="connsiteY2" fmla="*/ 14233 h 107639"/>
                <a:gd name="connsiteX3" fmla="*/ 85310 w 107611"/>
                <a:gd name="connsiteY3" fmla="*/ 10197 h 107639"/>
                <a:gd name="connsiteX4" fmla="*/ 10196 w 107611"/>
                <a:gd name="connsiteY4" fmla="*/ 22305 h 107639"/>
                <a:gd name="connsiteX5" fmla="*/ 17347 w 107611"/>
                <a:gd name="connsiteY5" fmla="*/ 93393 h 107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7611" h="107639">
                  <a:moveTo>
                    <a:pt x="17347" y="93393"/>
                  </a:moveTo>
                  <a:cubicBezTo>
                    <a:pt x="39187" y="113538"/>
                    <a:pt x="73239" y="112157"/>
                    <a:pt x="93380" y="90278"/>
                  </a:cubicBezTo>
                  <a:cubicBezTo>
                    <a:pt x="113522" y="68435"/>
                    <a:pt x="112106" y="34377"/>
                    <a:pt x="90265" y="14233"/>
                  </a:cubicBezTo>
                  <a:cubicBezTo>
                    <a:pt x="88708" y="12817"/>
                    <a:pt x="87044" y="11436"/>
                    <a:pt x="85310" y="10197"/>
                  </a:cubicBezTo>
                  <a:cubicBezTo>
                    <a:pt x="61204" y="-7221"/>
                    <a:pt x="27577" y="-1769"/>
                    <a:pt x="10196" y="22305"/>
                  </a:cubicBezTo>
                  <a:cubicBezTo>
                    <a:pt x="-5768" y="44396"/>
                    <a:pt x="-2688" y="74913"/>
                    <a:pt x="17347" y="9339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2" name="Freihandform 464">
              <a:extLst>
                <a:ext uri="{FF2B5EF4-FFF2-40B4-BE49-F238E27FC236}">
                  <a16:creationId xmlns:a16="http://schemas.microsoft.com/office/drawing/2014/main" id="{315BAC16-7037-4B8E-BA3F-0EE5098BF69A}"/>
                </a:ext>
              </a:extLst>
            </p:cNvPr>
            <p:cNvSpPr/>
            <p:nvPr/>
          </p:nvSpPr>
          <p:spPr>
            <a:xfrm>
              <a:off x="2871234" y="5511782"/>
              <a:ext cx="106893" cy="106929"/>
            </a:xfrm>
            <a:custGeom>
              <a:avLst/>
              <a:gdLst>
                <a:gd name="connsiteX0" fmla="*/ 19636 w 106893"/>
                <a:gd name="connsiteY0" fmla="*/ 94860 h 106929"/>
                <a:gd name="connsiteX1" fmla="*/ 94856 w 106893"/>
                <a:gd name="connsiteY1" fmla="*/ 87284 h 106929"/>
                <a:gd name="connsiteX2" fmla="*/ 87245 w 106893"/>
                <a:gd name="connsiteY2" fmla="*/ 12054 h 106929"/>
                <a:gd name="connsiteX3" fmla="*/ 12203 w 106893"/>
                <a:gd name="connsiteY3" fmla="*/ 19453 h 106929"/>
                <a:gd name="connsiteX4" fmla="*/ 19459 w 106893"/>
                <a:gd name="connsiteY4" fmla="*/ 94719 h 106929"/>
                <a:gd name="connsiteX5" fmla="*/ 19636 w 106893"/>
                <a:gd name="connsiteY5" fmla="*/ 94860 h 106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893" h="106929">
                  <a:moveTo>
                    <a:pt x="19636" y="94860"/>
                  </a:moveTo>
                  <a:cubicBezTo>
                    <a:pt x="42503" y="113553"/>
                    <a:pt x="76166" y="110154"/>
                    <a:pt x="94856" y="87284"/>
                  </a:cubicBezTo>
                  <a:cubicBezTo>
                    <a:pt x="113510" y="64414"/>
                    <a:pt x="110112" y="30711"/>
                    <a:pt x="87245" y="12054"/>
                  </a:cubicBezTo>
                  <a:cubicBezTo>
                    <a:pt x="64449" y="-6568"/>
                    <a:pt x="30928" y="-3240"/>
                    <a:pt x="12203" y="19453"/>
                  </a:cubicBezTo>
                  <a:cubicBezTo>
                    <a:pt x="-6558" y="42217"/>
                    <a:pt x="-3337" y="75920"/>
                    <a:pt x="19459" y="94719"/>
                  </a:cubicBezTo>
                  <a:cubicBezTo>
                    <a:pt x="19494" y="94754"/>
                    <a:pt x="19565" y="94825"/>
                    <a:pt x="19636" y="9486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3" name="Freihandform 465">
              <a:extLst>
                <a:ext uri="{FF2B5EF4-FFF2-40B4-BE49-F238E27FC236}">
                  <a16:creationId xmlns:a16="http://schemas.microsoft.com/office/drawing/2014/main" id="{AAC6CB06-4CAA-4227-82F8-D75B77CBC4C0}"/>
                </a:ext>
              </a:extLst>
            </p:cNvPr>
            <p:cNvSpPr/>
            <p:nvPr/>
          </p:nvSpPr>
          <p:spPr>
            <a:xfrm>
              <a:off x="4251580" y="4807217"/>
              <a:ext cx="107894" cy="107623"/>
            </a:xfrm>
            <a:custGeom>
              <a:avLst/>
              <a:gdLst>
                <a:gd name="connsiteX0" fmla="*/ 19791 w 107894"/>
                <a:gd name="connsiteY0" fmla="*/ 95268 h 107623"/>
                <a:gd name="connsiteX1" fmla="*/ 95541 w 107894"/>
                <a:gd name="connsiteY1" fmla="*/ 88117 h 107623"/>
                <a:gd name="connsiteX2" fmla="*/ 88391 w 107894"/>
                <a:gd name="connsiteY2" fmla="*/ 12355 h 107623"/>
                <a:gd name="connsiteX3" fmla="*/ 12640 w 107894"/>
                <a:gd name="connsiteY3" fmla="*/ 19507 h 107623"/>
                <a:gd name="connsiteX4" fmla="*/ 12357 w 107894"/>
                <a:gd name="connsiteY4" fmla="*/ 19861 h 107623"/>
                <a:gd name="connsiteX5" fmla="*/ 19047 w 107894"/>
                <a:gd name="connsiteY5" fmla="*/ 94666 h 107623"/>
                <a:gd name="connsiteX6" fmla="*/ 19791 w 107894"/>
                <a:gd name="connsiteY6" fmla="*/ 95268 h 10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894" h="107623">
                  <a:moveTo>
                    <a:pt x="19791" y="95268"/>
                  </a:moveTo>
                  <a:cubicBezTo>
                    <a:pt x="42693" y="114209"/>
                    <a:pt x="76604" y="111022"/>
                    <a:pt x="95541" y="88117"/>
                  </a:cubicBezTo>
                  <a:cubicBezTo>
                    <a:pt x="114479" y="65247"/>
                    <a:pt x="111293" y="31296"/>
                    <a:pt x="88391" y="12355"/>
                  </a:cubicBezTo>
                  <a:cubicBezTo>
                    <a:pt x="65524" y="-6585"/>
                    <a:pt x="31613" y="-3399"/>
                    <a:pt x="12640" y="19507"/>
                  </a:cubicBezTo>
                  <a:cubicBezTo>
                    <a:pt x="12569" y="19613"/>
                    <a:pt x="12464" y="19754"/>
                    <a:pt x="12357" y="19861"/>
                  </a:cubicBezTo>
                  <a:cubicBezTo>
                    <a:pt x="-6439" y="42377"/>
                    <a:pt x="-3465" y="75867"/>
                    <a:pt x="19047" y="94666"/>
                  </a:cubicBezTo>
                  <a:cubicBezTo>
                    <a:pt x="19295" y="94878"/>
                    <a:pt x="19543" y="95056"/>
                    <a:pt x="19791" y="9526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4" name="Freihandform 466">
              <a:extLst>
                <a:ext uri="{FF2B5EF4-FFF2-40B4-BE49-F238E27FC236}">
                  <a16:creationId xmlns:a16="http://schemas.microsoft.com/office/drawing/2014/main" id="{AE822986-B587-49D7-BE38-F0179870F625}"/>
                </a:ext>
              </a:extLst>
            </p:cNvPr>
            <p:cNvSpPr/>
            <p:nvPr/>
          </p:nvSpPr>
          <p:spPr>
            <a:xfrm>
              <a:off x="395396" y="4711325"/>
              <a:ext cx="50692" cy="50984"/>
            </a:xfrm>
            <a:custGeom>
              <a:avLst/>
              <a:gdLst>
                <a:gd name="connsiteX0" fmla="*/ 9158 w 50692"/>
                <a:gd name="connsiteY0" fmla="*/ 45301 h 50984"/>
                <a:gd name="connsiteX1" fmla="*/ 45005 w 50692"/>
                <a:gd name="connsiteY1" fmla="*/ 41548 h 50984"/>
                <a:gd name="connsiteX2" fmla="*/ 41253 w 50692"/>
                <a:gd name="connsiteY2" fmla="*/ 5686 h 50984"/>
                <a:gd name="connsiteX3" fmla="*/ 5618 w 50692"/>
                <a:gd name="connsiteY3" fmla="*/ 9190 h 50984"/>
                <a:gd name="connsiteX4" fmla="*/ 9158 w 50692"/>
                <a:gd name="connsiteY4" fmla="*/ 45301 h 50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692" h="50984">
                  <a:moveTo>
                    <a:pt x="9158" y="45301"/>
                  </a:moveTo>
                  <a:cubicBezTo>
                    <a:pt x="20092" y="54151"/>
                    <a:pt x="36141" y="52488"/>
                    <a:pt x="45005" y="41548"/>
                  </a:cubicBezTo>
                  <a:cubicBezTo>
                    <a:pt x="53868" y="30609"/>
                    <a:pt x="52187" y="14572"/>
                    <a:pt x="41253" y="5686"/>
                  </a:cubicBezTo>
                  <a:cubicBezTo>
                    <a:pt x="30418" y="-3094"/>
                    <a:pt x="14542" y="-1537"/>
                    <a:pt x="5618" y="9190"/>
                  </a:cubicBezTo>
                  <a:cubicBezTo>
                    <a:pt x="-3076" y="20236"/>
                    <a:pt x="-1514" y="36167"/>
                    <a:pt x="9158" y="4530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5" name="Freihandform 467">
              <a:extLst>
                <a:ext uri="{FF2B5EF4-FFF2-40B4-BE49-F238E27FC236}">
                  <a16:creationId xmlns:a16="http://schemas.microsoft.com/office/drawing/2014/main" id="{9820F9E1-8E68-4173-B38D-3A666D8B1AFE}"/>
                </a:ext>
              </a:extLst>
            </p:cNvPr>
            <p:cNvSpPr/>
            <p:nvPr/>
          </p:nvSpPr>
          <p:spPr>
            <a:xfrm>
              <a:off x="614098" y="4727295"/>
              <a:ext cx="50973" cy="50988"/>
            </a:xfrm>
            <a:custGeom>
              <a:avLst/>
              <a:gdLst>
                <a:gd name="connsiteX0" fmla="*/ 7796 w 50973"/>
                <a:gd name="connsiteY0" fmla="*/ 43846 h 50988"/>
                <a:gd name="connsiteX1" fmla="*/ 43834 w 50973"/>
                <a:gd name="connsiteY1" fmla="*/ 43173 h 50988"/>
                <a:gd name="connsiteX2" fmla="*/ 43176 w 50973"/>
                <a:gd name="connsiteY2" fmla="*/ 7133 h 50988"/>
                <a:gd name="connsiteX3" fmla="*/ 40007 w 50973"/>
                <a:gd name="connsiteY3" fmla="*/ 4549 h 50988"/>
                <a:gd name="connsiteX4" fmla="*/ 4543 w 50973"/>
                <a:gd name="connsiteY4" fmla="*/ 10957 h 50988"/>
                <a:gd name="connsiteX5" fmla="*/ 7796 w 50973"/>
                <a:gd name="connsiteY5" fmla="*/ 43846 h 50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973" h="50988">
                  <a:moveTo>
                    <a:pt x="7796" y="43846"/>
                  </a:moveTo>
                  <a:cubicBezTo>
                    <a:pt x="17930" y="53617"/>
                    <a:pt x="34064" y="53334"/>
                    <a:pt x="43834" y="43173"/>
                  </a:cubicBezTo>
                  <a:cubicBezTo>
                    <a:pt x="53604" y="33048"/>
                    <a:pt x="53310" y="16904"/>
                    <a:pt x="43176" y="7133"/>
                  </a:cubicBezTo>
                  <a:cubicBezTo>
                    <a:pt x="42192" y="6213"/>
                    <a:pt x="41133" y="5328"/>
                    <a:pt x="40007" y="4549"/>
                  </a:cubicBezTo>
                  <a:cubicBezTo>
                    <a:pt x="28440" y="-3487"/>
                    <a:pt x="12560" y="-584"/>
                    <a:pt x="4543" y="10957"/>
                  </a:cubicBezTo>
                  <a:cubicBezTo>
                    <a:pt x="-2579" y="21259"/>
                    <a:pt x="-1202" y="35172"/>
                    <a:pt x="7796" y="4384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6" name="Freihandform 468">
              <a:extLst>
                <a:ext uri="{FF2B5EF4-FFF2-40B4-BE49-F238E27FC236}">
                  <a16:creationId xmlns:a16="http://schemas.microsoft.com/office/drawing/2014/main" id="{29219FCC-0415-45A6-BCD7-70C56CCBB875}"/>
                </a:ext>
              </a:extLst>
            </p:cNvPr>
            <p:cNvSpPr/>
            <p:nvPr/>
          </p:nvSpPr>
          <p:spPr>
            <a:xfrm>
              <a:off x="2722104" y="5687932"/>
              <a:ext cx="58345" cy="58783"/>
            </a:xfrm>
            <a:custGeom>
              <a:avLst/>
              <a:gdLst>
                <a:gd name="connsiteX0" fmla="*/ 10894 w 58345"/>
                <a:gd name="connsiteY0" fmla="*/ 53593 h 58783"/>
                <a:gd name="connsiteX1" fmla="*/ 53159 w 58345"/>
                <a:gd name="connsiteY1" fmla="*/ 45344 h 58783"/>
                <a:gd name="connsiteX2" fmla="*/ 49478 w 58345"/>
                <a:gd name="connsiteY2" fmla="*/ 6862 h 58783"/>
                <a:gd name="connsiteX3" fmla="*/ 7107 w 58345"/>
                <a:gd name="connsiteY3" fmla="*/ 10969 h 58783"/>
                <a:gd name="connsiteX4" fmla="*/ 7001 w 58345"/>
                <a:gd name="connsiteY4" fmla="*/ 11110 h 58783"/>
                <a:gd name="connsiteX5" fmla="*/ 10788 w 58345"/>
                <a:gd name="connsiteY5" fmla="*/ 53487 h 58783"/>
                <a:gd name="connsiteX6" fmla="*/ 10894 w 58345"/>
                <a:gd name="connsiteY6" fmla="*/ 53593 h 58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345" h="58783">
                  <a:moveTo>
                    <a:pt x="10894" y="53593"/>
                  </a:moveTo>
                  <a:cubicBezTo>
                    <a:pt x="24841" y="62975"/>
                    <a:pt x="43743" y="59293"/>
                    <a:pt x="53159" y="45344"/>
                  </a:cubicBezTo>
                  <a:cubicBezTo>
                    <a:pt x="61265" y="33307"/>
                    <a:pt x="59743" y="17164"/>
                    <a:pt x="49478" y="6862"/>
                  </a:cubicBezTo>
                  <a:cubicBezTo>
                    <a:pt x="36664" y="-3688"/>
                    <a:pt x="17690" y="-1883"/>
                    <a:pt x="7107" y="10969"/>
                  </a:cubicBezTo>
                  <a:cubicBezTo>
                    <a:pt x="7071" y="11004"/>
                    <a:pt x="7036" y="11075"/>
                    <a:pt x="7001" y="11110"/>
                  </a:cubicBezTo>
                  <a:cubicBezTo>
                    <a:pt x="-3654" y="23855"/>
                    <a:pt x="-1955" y="42831"/>
                    <a:pt x="10788" y="53487"/>
                  </a:cubicBezTo>
                  <a:cubicBezTo>
                    <a:pt x="10824" y="53522"/>
                    <a:pt x="10859" y="53558"/>
                    <a:pt x="10894" y="5359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7" name="Freihandform 469">
              <a:extLst>
                <a:ext uri="{FF2B5EF4-FFF2-40B4-BE49-F238E27FC236}">
                  <a16:creationId xmlns:a16="http://schemas.microsoft.com/office/drawing/2014/main" id="{66AE444D-93DC-4E7F-AF20-7C10A74944CA}"/>
                </a:ext>
              </a:extLst>
            </p:cNvPr>
            <p:cNvSpPr/>
            <p:nvPr/>
          </p:nvSpPr>
          <p:spPr>
            <a:xfrm>
              <a:off x="549833" y="5454969"/>
              <a:ext cx="82202" cy="81779"/>
            </a:xfrm>
            <a:custGeom>
              <a:avLst/>
              <a:gdLst>
                <a:gd name="connsiteX0" fmla="*/ 15426 w 82202"/>
                <a:gd name="connsiteY0" fmla="*/ 72372 h 81779"/>
                <a:gd name="connsiteX1" fmla="*/ 74539 w 82202"/>
                <a:gd name="connsiteY1" fmla="*/ 66354 h 81779"/>
                <a:gd name="connsiteX2" fmla="*/ 64295 w 82202"/>
                <a:gd name="connsiteY2" fmla="*/ 7656 h 81779"/>
                <a:gd name="connsiteX3" fmla="*/ 9408 w 82202"/>
                <a:gd name="connsiteY3" fmla="*/ 13250 h 81779"/>
                <a:gd name="connsiteX4" fmla="*/ 15426 w 82202"/>
                <a:gd name="connsiteY4" fmla="*/ 72372 h 81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202" h="81779">
                  <a:moveTo>
                    <a:pt x="15426" y="72372"/>
                  </a:moveTo>
                  <a:cubicBezTo>
                    <a:pt x="33429" y="86958"/>
                    <a:pt x="59846" y="84303"/>
                    <a:pt x="74539" y="66354"/>
                  </a:cubicBezTo>
                  <a:cubicBezTo>
                    <a:pt x="87916" y="47307"/>
                    <a:pt x="83328" y="21039"/>
                    <a:pt x="64295" y="7656"/>
                  </a:cubicBezTo>
                  <a:cubicBezTo>
                    <a:pt x="47156" y="-4381"/>
                    <a:pt x="23769" y="-2008"/>
                    <a:pt x="9408" y="13250"/>
                  </a:cubicBezTo>
                  <a:cubicBezTo>
                    <a:pt x="-5193" y="31270"/>
                    <a:pt x="-2503" y="57680"/>
                    <a:pt x="15426" y="7237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8" name="Freihandform 470">
              <a:extLst>
                <a:ext uri="{FF2B5EF4-FFF2-40B4-BE49-F238E27FC236}">
                  <a16:creationId xmlns:a16="http://schemas.microsoft.com/office/drawing/2014/main" id="{EE76D7B9-D541-46C6-B18F-C63180CBBA53}"/>
                </a:ext>
              </a:extLst>
            </p:cNvPr>
            <p:cNvSpPr/>
            <p:nvPr/>
          </p:nvSpPr>
          <p:spPr>
            <a:xfrm>
              <a:off x="918516" y="4895458"/>
              <a:ext cx="49273" cy="49569"/>
            </a:xfrm>
            <a:custGeom>
              <a:avLst/>
              <a:gdLst>
                <a:gd name="connsiteX0" fmla="*/ 7796 w 49273"/>
                <a:gd name="connsiteY0" fmla="*/ 43846 h 49569"/>
                <a:gd name="connsiteX1" fmla="*/ 43547 w 49273"/>
                <a:gd name="connsiteY1" fmla="*/ 40306 h 49569"/>
                <a:gd name="connsiteX2" fmla="*/ 40007 w 49273"/>
                <a:gd name="connsiteY2" fmla="*/ 4549 h 49569"/>
                <a:gd name="connsiteX3" fmla="*/ 4543 w 49273"/>
                <a:gd name="connsiteY3" fmla="*/ 10957 h 49569"/>
                <a:gd name="connsiteX4" fmla="*/ 7796 w 49273"/>
                <a:gd name="connsiteY4" fmla="*/ 43846 h 49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73" h="49569">
                  <a:moveTo>
                    <a:pt x="7796" y="43846"/>
                  </a:moveTo>
                  <a:cubicBezTo>
                    <a:pt x="18659" y="52696"/>
                    <a:pt x="34631" y="51103"/>
                    <a:pt x="43547" y="40306"/>
                  </a:cubicBezTo>
                  <a:cubicBezTo>
                    <a:pt x="52397" y="29437"/>
                    <a:pt x="50814" y="13471"/>
                    <a:pt x="40007" y="4549"/>
                  </a:cubicBezTo>
                  <a:cubicBezTo>
                    <a:pt x="28440" y="-3487"/>
                    <a:pt x="12560" y="-584"/>
                    <a:pt x="4543" y="10957"/>
                  </a:cubicBezTo>
                  <a:cubicBezTo>
                    <a:pt x="-2579" y="21259"/>
                    <a:pt x="-1202" y="35172"/>
                    <a:pt x="7796" y="4384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79" name="Freihandform 471">
              <a:extLst>
                <a:ext uri="{FF2B5EF4-FFF2-40B4-BE49-F238E27FC236}">
                  <a16:creationId xmlns:a16="http://schemas.microsoft.com/office/drawing/2014/main" id="{C800A7FA-D4F0-4D19-B465-12BFB3AFDBEE}"/>
                </a:ext>
              </a:extLst>
            </p:cNvPr>
            <p:cNvSpPr/>
            <p:nvPr/>
          </p:nvSpPr>
          <p:spPr>
            <a:xfrm>
              <a:off x="940701" y="4319071"/>
              <a:ext cx="174863" cy="174884"/>
            </a:xfrm>
            <a:custGeom>
              <a:avLst/>
              <a:gdLst>
                <a:gd name="connsiteX0" fmla="*/ 31982 w 174863"/>
                <a:gd name="connsiteY0" fmla="*/ 155042 h 174884"/>
                <a:gd name="connsiteX1" fmla="*/ 155024 w 174863"/>
                <a:gd name="connsiteY1" fmla="*/ 142899 h 174884"/>
                <a:gd name="connsiteX2" fmla="*/ 142882 w 174863"/>
                <a:gd name="connsiteY2" fmla="*/ 19839 h 174884"/>
                <a:gd name="connsiteX3" fmla="*/ 19947 w 174863"/>
                <a:gd name="connsiteY3" fmla="*/ 31841 h 174884"/>
                <a:gd name="connsiteX4" fmla="*/ 31848 w 174863"/>
                <a:gd name="connsiteY4" fmla="*/ 154936 h 174884"/>
                <a:gd name="connsiteX5" fmla="*/ 31982 w 174863"/>
                <a:gd name="connsiteY5" fmla="*/ 155042 h 174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4863" h="174884">
                  <a:moveTo>
                    <a:pt x="31982" y="155042"/>
                  </a:moveTo>
                  <a:cubicBezTo>
                    <a:pt x="69316" y="185665"/>
                    <a:pt x="124405" y="180249"/>
                    <a:pt x="155024" y="142899"/>
                  </a:cubicBezTo>
                  <a:cubicBezTo>
                    <a:pt x="185643" y="105549"/>
                    <a:pt x="180227" y="50463"/>
                    <a:pt x="142882" y="19839"/>
                  </a:cubicBezTo>
                  <a:cubicBezTo>
                    <a:pt x="105609" y="-10748"/>
                    <a:pt x="50605" y="-5367"/>
                    <a:pt x="19947" y="31841"/>
                  </a:cubicBezTo>
                  <a:cubicBezTo>
                    <a:pt x="-10753" y="69120"/>
                    <a:pt x="-5422" y="124242"/>
                    <a:pt x="31848" y="154936"/>
                  </a:cubicBezTo>
                  <a:cubicBezTo>
                    <a:pt x="31894" y="154971"/>
                    <a:pt x="31936" y="155007"/>
                    <a:pt x="31982" y="15504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0" name="Freihandform 472">
              <a:extLst>
                <a:ext uri="{FF2B5EF4-FFF2-40B4-BE49-F238E27FC236}">
                  <a16:creationId xmlns:a16="http://schemas.microsoft.com/office/drawing/2014/main" id="{0522C74C-5E59-4C94-9A95-9D09808F78F5}"/>
                </a:ext>
              </a:extLst>
            </p:cNvPr>
            <p:cNvSpPr/>
            <p:nvPr/>
          </p:nvSpPr>
          <p:spPr>
            <a:xfrm>
              <a:off x="2860430" y="4141351"/>
              <a:ext cx="31143" cy="31010"/>
            </a:xfrm>
            <a:custGeom>
              <a:avLst/>
              <a:gdLst>
                <a:gd name="connsiteX0" fmla="*/ 5662 w 31143"/>
                <a:gd name="connsiteY0" fmla="*/ 27591 h 31010"/>
                <a:gd name="connsiteX1" fmla="*/ 27608 w 31143"/>
                <a:gd name="connsiteY1" fmla="*/ 25467 h 31010"/>
                <a:gd name="connsiteX2" fmla="*/ 25449 w 31143"/>
                <a:gd name="connsiteY2" fmla="*/ 3553 h 31010"/>
                <a:gd name="connsiteX3" fmla="*/ 3538 w 31143"/>
                <a:gd name="connsiteY3" fmla="*/ 5677 h 31010"/>
                <a:gd name="connsiteX4" fmla="*/ 5662 w 31143"/>
                <a:gd name="connsiteY4" fmla="*/ 27591 h 31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43" h="31010">
                  <a:moveTo>
                    <a:pt x="5662" y="27591"/>
                  </a:moveTo>
                  <a:cubicBezTo>
                    <a:pt x="12352" y="32866"/>
                    <a:pt x="22051" y="31946"/>
                    <a:pt x="27608" y="25467"/>
                  </a:cubicBezTo>
                  <a:cubicBezTo>
                    <a:pt x="33059" y="18812"/>
                    <a:pt x="32104" y="9005"/>
                    <a:pt x="25449" y="3553"/>
                  </a:cubicBezTo>
                  <a:cubicBezTo>
                    <a:pt x="18830" y="-1934"/>
                    <a:pt x="8989" y="-943"/>
                    <a:pt x="3538" y="5677"/>
                  </a:cubicBezTo>
                  <a:cubicBezTo>
                    <a:pt x="-1913" y="12333"/>
                    <a:pt x="-957" y="22140"/>
                    <a:pt x="5662" y="2759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1" name="Freihandform 473">
              <a:extLst>
                <a:ext uri="{FF2B5EF4-FFF2-40B4-BE49-F238E27FC236}">
                  <a16:creationId xmlns:a16="http://schemas.microsoft.com/office/drawing/2014/main" id="{537715BE-A8C1-4C04-BA8C-0D84F540AD27}"/>
                </a:ext>
              </a:extLst>
            </p:cNvPr>
            <p:cNvSpPr/>
            <p:nvPr/>
          </p:nvSpPr>
          <p:spPr>
            <a:xfrm>
              <a:off x="3391158" y="4329504"/>
              <a:ext cx="31260" cy="31201"/>
            </a:xfrm>
            <a:custGeom>
              <a:avLst/>
              <a:gdLst>
                <a:gd name="connsiteX0" fmla="*/ 5896 w 31260"/>
                <a:gd name="connsiteY0" fmla="*/ 27782 h 31201"/>
                <a:gd name="connsiteX1" fmla="*/ 27842 w 31260"/>
                <a:gd name="connsiteY1" fmla="*/ 25657 h 31201"/>
                <a:gd name="connsiteX2" fmla="*/ 25435 w 31260"/>
                <a:gd name="connsiteY2" fmla="*/ 3743 h 31201"/>
                <a:gd name="connsiteX3" fmla="*/ 25364 w 31260"/>
                <a:gd name="connsiteY3" fmla="*/ 3708 h 31201"/>
                <a:gd name="connsiteX4" fmla="*/ 3878 w 31260"/>
                <a:gd name="connsiteY4" fmla="*/ 5265 h 31201"/>
                <a:gd name="connsiteX5" fmla="*/ 3418 w 31260"/>
                <a:gd name="connsiteY5" fmla="*/ 5832 h 31201"/>
                <a:gd name="connsiteX6" fmla="*/ 5825 w 31260"/>
                <a:gd name="connsiteY6" fmla="*/ 27746 h 31201"/>
                <a:gd name="connsiteX7" fmla="*/ 5896 w 31260"/>
                <a:gd name="connsiteY7" fmla="*/ 27782 h 31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260" h="31201">
                  <a:moveTo>
                    <a:pt x="5896" y="27782"/>
                  </a:moveTo>
                  <a:cubicBezTo>
                    <a:pt x="12586" y="33057"/>
                    <a:pt x="22285" y="32136"/>
                    <a:pt x="27842" y="25657"/>
                  </a:cubicBezTo>
                  <a:cubicBezTo>
                    <a:pt x="33222" y="18931"/>
                    <a:pt x="32125" y="9125"/>
                    <a:pt x="25435" y="3743"/>
                  </a:cubicBezTo>
                  <a:cubicBezTo>
                    <a:pt x="25400" y="3743"/>
                    <a:pt x="25400" y="3743"/>
                    <a:pt x="25364" y="3708"/>
                  </a:cubicBezTo>
                  <a:cubicBezTo>
                    <a:pt x="18993" y="-1780"/>
                    <a:pt x="9400" y="-1107"/>
                    <a:pt x="3878" y="5265"/>
                  </a:cubicBezTo>
                  <a:cubicBezTo>
                    <a:pt x="3737" y="5443"/>
                    <a:pt x="3559" y="5620"/>
                    <a:pt x="3418" y="5832"/>
                  </a:cubicBezTo>
                  <a:cubicBezTo>
                    <a:pt x="-1962" y="12559"/>
                    <a:pt x="-865" y="22365"/>
                    <a:pt x="5825" y="27746"/>
                  </a:cubicBezTo>
                  <a:cubicBezTo>
                    <a:pt x="5860" y="27746"/>
                    <a:pt x="5860" y="27782"/>
                    <a:pt x="5896" y="2778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2" name="Freihandform 474">
              <a:extLst>
                <a:ext uri="{FF2B5EF4-FFF2-40B4-BE49-F238E27FC236}">
                  <a16:creationId xmlns:a16="http://schemas.microsoft.com/office/drawing/2014/main" id="{60699DF6-D758-4664-B28D-14B1E12A1265}"/>
                </a:ext>
              </a:extLst>
            </p:cNvPr>
            <p:cNvSpPr/>
            <p:nvPr/>
          </p:nvSpPr>
          <p:spPr>
            <a:xfrm>
              <a:off x="3623219" y="4587377"/>
              <a:ext cx="31053" cy="31346"/>
            </a:xfrm>
            <a:custGeom>
              <a:avLst/>
              <a:gdLst>
                <a:gd name="connsiteX0" fmla="*/ 5688 w 31053"/>
                <a:gd name="connsiteY0" fmla="*/ 27638 h 31346"/>
                <a:gd name="connsiteX1" fmla="*/ 27174 w 31053"/>
                <a:gd name="connsiteY1" fmla="*/ 26081 h 31346"/>
                <a:gd name="connsiteX2" fmla="*/ 27634 w 31053"/>
                <a:gd name="connsiteY2" fmla="*/ 25514 h 31346"/>
                <a:gd name="connsiteX3" fmla="*/ 25510 w 31053"/>
                <a:gd name="connsiteY3" fmla="*/ 3565 h 31346"/>
                <a:gd name="connsiteX4" fmla="*/ 3564 w 31053"/>
                <a:gd name="connsiteY4" fmla="*/ 5689 h 31346"/>
                <a:gd name="connsiteX5" fmla="*/ 5688 w 31053"/>
                <a:gd name="connsiteY5" fmla="*/ 27638 h 31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053" h="31346">
                  <a:moveTo>
                    <a:pt x="5688" y="27638"/>
                  </a:moveTo>
                  <a:cubicBezTo>
                    <a:pt x="12060" y="33126"/>
                    <a:pt x="21652" y="32453"/>
                    <a:pt x="27174" y="26081"/>
                  </a:cubicBezTo>
                  <a:cubicBezTo>
                    <a:pt x="27316" y="25904"/>
                    <a:pt x="27493" y="25727"/>
                    <a:pt x="27634" y="25514"/>
                  </a:cubicBezTo>
                  <a:cubicBezTo>
                    <a:pt x="32908" y="18823"/>
                    <a:pt x="31988" y="9123"/>
                    <a:pt x="25510" y="3565"/>
                  </a:cubicBezTo>
                  <a:cubicBezTo>
                    <a:pt x="18856" y="-1923"/>
                    <a:pt x="9051" y="-967"/>
                    <a:pt x="3564" y="5689"/>
                  </a:cubicBezTo>
                  <a:cubicBezTo>
                    <a:pt x="-1923" y="12345"/>
                    <a:pt x="-967" y="22151"/>
                    <a:pt x="5688" y="2763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3" name="Freihandform 475">
              <a:extLst>
                <a:ext uri="{FF2B5EF4-FFF2-40B4-BE49-F238E27FC236}">
                  <a16:creationId xmlns:a16="http://schemas.microsoft.com/office/drawing/2014/main" id="{E2F5ADCE-1FBB-47DC-976B-AE1A458745CC}"/>
                </a:ext>
              </a:extLst>
            </p:cNvPr>
            <p:cNvSpPr/>
            <p:nvPr/>
          </p:nvSpPr>
          <p:spPr>
            <a:xfrm>
              <a:off x="3143087" y="4322210"/>
              <a:ext cx="31196" cy="31349"/>
            </a:xfrm>
            <a:custGeom>
              <a:avLst/>
              <a:gdLst>
                <a:gd name="connsiteX0" fmla="*/ 5831 w 31196"/>
                <a:gd name="connsiteY0" fmla="*/ 27641 h 31349"/>
                <a:gd name="connsiteX1" fmla="*/ 27317 w 31196"/>
                <a:gd name="connsiteY1" fmla="*/ 26084 h 31349"/>
                <a:gd name="connsiteX2" fmla="*/ 27778 w 31196"/>
                <a:gd name="connsiteY2" fmla="*/ 25517 h 31349"/>
                <a:gd name="connsiteX3" fmla="*/ 25654 w 31196"/>
                <a:gd name="connsiteY3" fmla="*/ 3568 h 31349"/>
                <a:gd name="connsiteX4" fmla="*/ 3743 w 31196"/>
                <a:gd name="connsiteY4" fmla="*/ 5656 h 31349"/>
                <a:gd name="connsiteX5" fmla="*/ 3708 w 31196"/>
                <a:gd name="connsiteY5" fmla="*/ 5692 h 31349"/>
                <a:gd name="connsiteX6" fmla="*/ 5265 w 31196"/>
                <a:gd name="connsiteY6" fmla="*/ 27181 h 31349"/>
                <a:gd name="connsiteX7" fmla="*/ 5831 w 31196"/>
                <a:gd name="connsiteY7" fmla="*/ 27641 h 31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196" h="31349">
                  <a:moveTo>
                    <a:pt x="5831" y="27641"/>
                  </a:moveTo>
                  <a:cubicBezTo>
                    <a:pt x="12203" y="33129"/>
                    <a:pt x="21796" y="32456"/>
                    <a:pt x="27317" y="26084"/>
                  </a:cubicBezTo>
                  <a:cubicBezTo>
                    <a:pt x="27459" y="25907"/>
                    <a:pt x="27636" y="25730"/>
                    <a:pt x="27778" y="25517"/>
                  </a:cubicBezTo>
                  <a:cubicBezTo>
                    <a:pt x="33052" y="18826"/>
                    <a:pt x="32131" y="9126"/>
                    <a:pt x="25654" y="3568"/>
                  </a:cubicBezTo>
                  <a:cubicBezTo>
                    <a:pt x="19034" y="-1920"/>
                    <a:pt x="9194" y="-964"/>
                    <a:pt x="3743" y="5656"/>
                  </a:cubicBezTo>
                  <a:cubicBezTo>
                    <a:pt x="3708" y="5692"/>
                    <a:pt x="3708" y="5692"/>
                    <a:pt x="3708" y="5692"/>
                  </a:cubicBezTo>
                  <a:cubicBezTo>
                    <a:pt x="-1779" y="12064"/>
                    <a:pt x="-1107" y="21658"/>
                    <a:pt x="5265" y="27181"/>
                  </a:cubicBezTo>
                  <a:cubicBezTo>
                    <a:pt x="5442" y="27323"/>
                    <a:pt x="5619" y="27500"/>
                    <a:pt x="5831" y="2764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4" name="Freihandform 476">
              <a:extLst>
                <a:ext uri="{FF2B5EF4-FFF2-40B4-BE49-F238E27FC236}">
                  <a16:creationId xmlns:a16="http://schemas.microsoft.com/office/drawing/2014/main" id="{898CD623-D73F-462C-9B13-6B71855F0FC7}"/>
                </a:ext>
              </a:extLst>
            </p:cNvPr>
            <p:cNvSpPr/>
            <p:nvPr/>
          </p:nvSpPr>
          <p:spPr>
            <a:xfrm>
              <a:off x="706478" y="3197473"/>
              <a:ext cx="31182" cy="31203"/>
            </a:xfrm>
            <a:custGeom>
              <a:avLst/>
              <a:gdLst>
                <a:gd name="connsiteX0" fmla="*/ 5680 w 31182"/>
                <a:gd name="connsiteY0" fmla="*/ 27638 h 31203"/>
                <a:gd name="connsiteX1" fmla="*/ 27626 w 31182"/>
                <a:gd name="connsiteY1" fmla="*/ 25514 h 31203"/>
                <a:gd name="connsiteX2" fmla="*/ 25502 w 31182"/>
                <a:gd name="connsiteY2" fmla="*/ 3564 h 31203"/>
                <a:gd name="connsiteX3" fmla="*/ 3556 w 31182"/>
                <a:gd name="connsiteY3" fmla="*/ 5689 h 31203"/>
                <a:gd name="connsiteX4" fmla="*/ 5680 w 31182"/>
                <a:gd name="connsiteY4" fmla="*/ 27638 h 31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82" h="31203">
                  <a:moveTo>
                    <a:pt x="5680" y="27638"/>
                  </a:moveTo>
                  <a:cubicBezTo>
                    <a:pt x="12327" y="33126"/>
                    <a:pt x="22154" y="32170"/>
                    <a:pt x="27626" y="25514"/>
                  </a:cubicBezTo>
                  <a:cubicBezTo>
                    <a:pt x="33099" y="18859"/>
                    <a:pt x="32150" y="9052"/>
                    <a:pt x="25502" y="3564"/>
                  </a:cubicBezTo>
                  <a:cubicBezTo>
                    <a:pt x="18855" y="-1923"/>
                    <a:pt x="9028" y="-967"/>
                    <a:pt x="3556" y="5689"/>
                  </a:cubicBezTo>
                  <a:cubicBezTo>
                    <a:pt x="-1917" y="12345"/>
                    <a:pt x="-968" y="22151"/>
                    <a:pt x="5680" y="2763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5" name="Freihandform 477">
              <a:extLst>
                <a:ext uri="{FF2B5EF4-FFF2-40B4-BE49-F238E27FC236}">
                  <a16:creationId xmlns:a16="http://schemas.microsoft.com/office/drawing/2014/main" id="{8F5D3070-0665-45E0-A4CB-03549A457C2D}"/>
                </a:ext>
              </a:extLst>
            </p:cNvPr>
            <p:cNvSpPr/>
            <p:nvPr/>
          </p:nvSpPr>
          <p:spPr>
            <a:xfrm>
              <a:off x="352016" y="2432073"/>
              <a:ext cx="77463" cy="77180"/>
            </a:xfrm>
            <a:custGeom>
              <a:avLst/>
              <a:gdLst>
                <a:gd name="connsiteX0" fmla="*/ 14309 w 77463"/>
                <a:gd name="connsiteY0" fmla="*/ 68346 h 77180"/>
                <a:gd name="connsiteX1" fmla="*/ 68626 w 77463"/>
                <a:gd name="connsiteY1" fmla="*/ 63177 h 77180"/>
                <a:gd name="connsiteX2" fmla="*/ 63451 w 77463"/>
                <a:gd name="connsiteY2" fmla="*/ 8834 h 77180"/>
                <a:gd name="connsiteX3" fmla="*/ 9130 w 77463"/>
                <a:gd name="connsiteY3" fmla="*/ 14003 h 77180"/>
                <a:gd name="connsiteX4" fmla="*/ 8999 w 77463"/>
                <a:gd name="connsiteY4" fmla="*/ 14180 h 77180"/>
                <a:gd name="connsiteX5" fmla="*/ 13367 w 77463"/>
                <a:gd name="connsiteY5" fmla="*/ 67567 h 77180"/>
                <a:gd name="connsiteX6" fmla="*/ 14309 w 77463"/>
                <a:gd name="connsiteY6" fmla="*/ 68346 h 77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463" h="77180">
                  <a:moveTo>
                    <a:pt x="14309" y="68346"/>
                  </a:moveTo>
                  <a:cubicBezTo>
                    <a:pt x="30736" y="81905"/>
                    <a:pt x="55058" y="79604"/>
                    <a:pt x="68626" y="63177"/>
                  </a:cubicBezTo>
                  <a:cubicBezTo>
                    <a:pt x="82197" y="46750"/>
                    <a:pt x="79879" y="22429"/>
                    <a:pt x="63451" y="8834"/>
                  </a:cubicBezTo>
                  <a:cubicBezTo>
                    <a:pt x="47019" y="-4725"/>
                    <a:pt x="22701" y="-2424"/>
                    <a:pt x="9130" y="14003"/>
                  </a:cubicBezTo>
                  <a:cubicBezTo>
                    <a:pt x="9087" y="14074"/>
                    <a:pt x="9041" y="14109"/>
                    <a:pt x="8999" y="14180"/>
                  </a:cubicBezTo>
                  <a:cubicBezTo>
                    <a:pt x="-4537" y="30147"/>
                    <a:pt x="-2580" y="54043"/>
                    <a:pt x="13367" y="67567"/>
                  </a:cubicBezTo>
                  <a:cubicBezTo>
                    <a:pt x="13679" y="67851"/>
                    <a:pt x="13990" y="68098"/>
                    <a:pt x="14309" y="6834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6" name="Freihandform 478">
              <a:extLst>
                <a:ext uri="{FF2B5EF4-FFF2-40B4-BE49-F238E27FC236}">
                  <a16:creationId xmlns:a16="http://schemas.microsoft.com/office/drawing/2014/main" id="{CB013B85-3F80-466A-9FD5-605044A2031D}"/>
                </a:ext>
              </a:extLst>
            </p:cNvPr>
            <p:cNvSpPr/>
            <p:nvPr/>
          </p:nvSpPr>
          <p:spPr>
            <a:xfrm>
              <a:off x="2661327" y="5465008"/>
              <a:ext cx="31341" cy="31057"/>
            </a:xfrm>
            <a:custGeom>
              <a:avLst/>
              <a:gdLst>
                <a:gd name="connsiteX0" fmla="*/ 5831 w 31341"/>
                <a:gd name="connsiteY0" fmla="*/ 27638 h 31057"/>
                <a:gd name="connsiteX1" fmla="*/ 27778 w 31341"/>
                <a:gd name="connsiteY1" fmla="*/ 25514 h 31057"/>
                <a:gd name="connsiteX2" fmla="*/ 25654 w 31341"/>
                <a:gd name="connsiteY2" fmla="*/ 3564 h 31057"/>
                <a:gd name="connsiteX3" fmla="*/ 3707 w 31341"/>
                <a:gd name="connsiteY3" fmla="*/ 5689 h 31057"/>
                <a:gd name="connsiteX4" fmla="*/ 5265 w 31341"/>
                <a:gd name="connsiteY4" fmla="*/ 27178 h 31057"/>
                <a:gd name="connsiteX5" fmla="*/ 5831 w 31341"/>
                <a:gd name="connsiteY5" fmla="*/ 27638 h 3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341" h="31057">
                  <a:moveTo>
                    <a:pt x="5831" y="27638"/>
                  </a:moveTo>
                  <a:cubicBezTo>
                    <a:pt x="12521" y="32913"/>
                    <a:pt x="22220" y="31993"/>
                    <a:pt x="27778" y="25514"/>
                  </a:cubicBezTo>
                  <a:cubicBezTo>
                    <a:pt x="33264" y="18859"/>
                    <a:pt x="32309" y="9052"/>
                    <a:pt x="25654" y="3564"/>
                  </a:cubicBezTo>
                  <a:cubicBezTo>
                    <a:pt x="18999" y="-1923"/>
                    <a:pt x="9194" y="-967"/>
                    <a:pt x="3707" y="5689"/>
                  </a:cubicBezTo>
                  <a:cubicBezTo>
                    <a:pt x="-1779" y="12061"/>
                    <a:pt x="-1107" y="21655"/>
                    <a:pt x="5265" y="27178"/>
                  </a:cubicBezTo>
                  <a:cubicBezTo>
                    <a:pt x="5442" y="27320"/>
                    <a:pt x="5619" y="27497"/>
                    <a:pt x="5831" y="2763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7" name="Freihandform 479">
              <a:extLst>
                <a:ext uri="{FF2B5EF4-FFF2-40B4-BE49-F238E27FC236}">
                  <a16:creationId xmlns:a16="http://schemas.microsoft.com/office/drawing/2014/main" id="{9037E38F-02AE-4957-9C92-2DF143187DF3}"/>
                </a:ext>
              </a:extLst>
            </p:cNvPr>
            <p:cNvSpPr/>
            <p:nvPr/>
          </p:nvSpPr>
          <p:spPr>
            <a:xfrm>
              <a:off x="669364" y="5064316"/>
              <a:ext cx="34361" cy="34435"/>
            </a:xfrm>
            <a:custGeom>
              <a:avLst/>
              <a:gdLst>
                <a:gd name="connsiteX0" fmla="*/ 5979 w 34361"/>
                <a:gd name="connsiteY0" fmla="*/ 30050 h 34435"/>
                <a:gd name="connsiteX1" fmla="*/ 29979 w 34361"/>
                <a:gd name="connsiteY1" fmla="*/ 28847 h 34435"/>
                <a:gd name="connsiteX2" fmla="*/ 28761 w 34361"/>
                <a:gd name="connsiteY2" fmla="*/ 4844 h 34435"/>
                <a:gd name="connsiteX3" fmla="*/ 27572 w 34361"/>
                <a:gd name="connsiteY3" fmla="*/ 3852 h 34435"/>
                <a:gd name="connsiteX4" fmla="*/ 4138 w 34361"/>
                <a:gd name="connsiteY4" fmla="*/ 5976 h 34435"/>
                <a:gd name="connsiteX5" fmla="*/ 3855 w 34361"/>
                <a:gd name="connsiteY5" fmla="*/ 6331 h 34435"/>
                <a:gd name="connsiteX6" fmla="*/ 5979 w 34361"/>
                <a:gd name="connsiteY6" fmla="*/ 30050 h 34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61" h="34435">
                  <a:moveTo>
                    <a:pt x="5979" y="30050"/>
                  </a:moveTo>
                  <a:cubicBezTo>
                    <a:pt x="12942" y="36352"/>
                    <a:pt x="23685" y="35786"/>
                    <a:pt x="29979" y="28847"/>
                  </a:cubicBezTo>
                  <a:cubicBezTo>
                    <a:pt x="36269" y="21872"/>
                    <a:pt x="35723" y="11110"/>
                    <a:pt x="28761" y="4844"/>
                  </a:cubicBezTo>
                  <a:cubicBezTo>
                    <a:pt x="28378" y="4490"/>
                    <a:pt x="27982" y="4171"/>
                    <a:pt x="27572" y="3852"/>
                  </a:cubicBezTo>
                  <a:cubicBezTo>
                    <a:pt x="20513" y="-2025"/>
                    <a:pt x="10021" y="-1069"/>
                    <a:pt x="4138" y="5976"/>
                  </a:cubicBezTo>
                  <a:cubicBezTo>
                    <a:pt x="4043" y="6083"/>
                    <a:pt x="3947" y="6225"/>
                    <a:pt x="3855" y="6331"/>
                  </a:cubicBezTo>
                  <a:cubicBezTo>
                    <a:pt x="-2021" y="13482"/>
                    <a:pt x="-1076" y="24032"/>
                    <a:pt x="5979" y="3005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8" name="Freihandform 480">
              <a:extLst>
                <a:ext uri="{FF2B5EF4-FFF2-40B4-BE49-F238E27FC236}">
                  <a16:creationId xmlns:a16="http://schemas.microsoft.com/office/drawing/2014/main" id="{4FBC7781-8EC2-41F5-8171-EBA9A7CE3178}"/>
                </a:ext>
              </a:extLst>
            </p:cNvPr>
            <p:cNvSpPr/>
            <p:nvPr/>
          </p:nvSpPr>
          <p:spPr>
            <a:xfrm>
              <a:off x="1307742" y="5605603"/>
              <a:ext cx="43367" cy="43278"/>
            </a:xfrm>
            <a:custGeom>
              <a:avLst/>
              <a:gdLst>
                <a:gd name="connsiteX0" fmla="*/ 7941 w 43367"/>
                <a:gd name="connsiteY0" fmla="*/ 38566 h 43278"/>
                <a:gd name="connsiteX1" fmla="*/ 38383 w 43367"/>
                <a:gd name="connsiteY1" fmla="*/ 35379 h 43278"/>
                <a:gd name="connsiteX2" fmla="*/ 35587 w 43367"/>
                <a:gd name="connsiteY2" fmla="*/ 4969 h 43278"/>
                <a:gd name="connsiteX3" fmla="*/ 35551 w 43367"/>
                <a:gd name="connsiteY3" fmla="*/ 4933 h 43278"/>
                <a:gd name="connsiteX4" fmla="*/ 4932 w 43367"/>
                <a:gd name="connsiteY4" fmla="*/ 7942 h 43278"/>
                <a:gd name="connsiteX5" fmla="*/ 7941 w 43367"/>
                <a:gd name="connsiteY5" fmla="*/ 38566 h 43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367" h="43278">
                  <a:moveTo>
                    <a:pt x="7941" y="38566"/>
                  </a:moveTo>
                  <a:cubicBezTo>
                    <a:pt x="17286" y="45929"/>
                    <a:pt x="30772" y="44513"/>
                    <a:pt x="38383" y="35379"/>
                  </a:cubicBezTo>
                  <a:cubicBezTo>
                    <a:pt x="45993" y="26210"/>
                    <a:pt x="44755" y="12580"/>
                    <a:pt x="35587" y="4969"/>
                  </a:cubicBezTo>
                  <a:cubicBezTo>
                    <a:pt x="35587" y="4969"/>
                    <a:pt x="35551" y="4933"/>
                    <a:pt x="35551" y="4933"/>
                  </a:cubicBezTo>
                  <a:cubicBezTo>
                    <a:pt x="26277" y="-2679"/>
                    <a:pt x="12543" y="-1333"/>
                    <a:pt x="4932" y="7942"/>
                  </a:cubicBezTo>
                  <a:cubicBezTo>
                    <a:pt x="-2678" y="17218"/>
                    <a:pt x="-1333" y="30954"/>
                    <a:pt x="7941" y="38566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89" name="Freihandform 481">
              <a:extLst>
                <a:ext uri="{FF2B5EF4-FFF2-40B4-BE49-F238E27FC236}">
                  <a16:creationId xmlns:a16="http://schemas.microsoft.com/office/drawing/2014/main" id="{7596FEDF-C4E1-4A9D-9F37-4F32A322F4DF}"/>
                </a:ext>
              </a:extLst>
            </p:cNvPr>
            <p:cNvSpPr/>
            <p:nvPr/>
          </p:nvSpPr>
          <p:spPr>
            <a:xfrm>
              <a:off x="3301472" y="5725260"/>
              <a:ext cx="19132" cy="19105"/>
            </a:xfrm>
            <a:custGeom>
              <a:avLst/>
              <a:gdLst>
                <a:gd name="connsiteX0" fmla="*/ 3548 w 19132"/>
                <a:gd name="connsiteY0" fmla="*/ 16973 h 19105"/>
                <a:gd name="connsiteX1" fmla="*/ 17000 w 19132"/>
                <a:gd name="connsiteY1" fmla="*/ 15557 h 19105"/>
                <a:gd name="connsiteX2" fmla="*/ 17000 w 19132"/>
                <a:gd name="connsiteY2" fmla="*/ 15557 h 19105"/>
                <a:gd name="connsiteX3" fmla="*/ 15584 w 19132"/>
                <a:gd name="connsiteY3" fmla="*/ 2104 h 19105"/>
                <a:gd name="connsiteX4" fmla="*/ 2133 w 19132"/>
                <a:gd name="connsiteY4" fmla="*/ 3555 h 19105"/>
                <a:gd name="connsiteX5" fmla="*/ 3548 w 19132"/>
                <a:gd name="connsiteY5" fmla="*/ 16973 h 19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32" h="19105">
                  <a:moveTo>
                    <a:pt x="3548" y="16973"/>
                  </a:moveTo>
                  <a:cubicBezTo>
                    <a:pt x="7655" y="20301"/>
                    <a:pt x="13672" y="19664"/>
                    <a:pt x="17000" y="15557"/>
                  </a:cubicBezTo>
                  <a:cubicBezTo>
                    <a:pt x="17000" y="15557"/>
                    <a:pt x="17000" y="15557"/>
                    <a:pt x="17000" y="15557"/>
                  </a:cubicBezTo>
                  <a:cubicBezTo>
                    <a:pt x="20327" y="11450"/>
                    <a:pt x="19690" y="5432"/>
                    <a:pt x="15584" y="2104"/>
                  </a:cubicBezTo>
                  <a:cubicBezTo>
                    <a:pt x="11477" y="-1188"/>
                    <a:pt x="5460" y="-551"/>
                    <a:pt x="2133" y="3555"/>
                  </a:cubicBezTo>
                  <a:cubicBezTo>
                    <a:pt x="-1195" y="7627"/>
                    <a:pt x="-558" y="13645"/>
                    <a:pt x="3548" y="169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0" name="Freihandform 482">
              <a:extLst>
                <a:ext uri="{FF2B5EF4-FFF2-40B4-BE49-F238E27FC236}">
                  <a16:creationId xmlns:a16="http://schemas.microsoft.com/office/drawing/2014/main" id="{D4164D76-324F-4105-AF42-341E979A9F04}"/>
                </a:ext>
              </a:extLst>
            </p:cNvPr>
            <p:cNvSpPr/>
            <p:nvPr/>
          </p:nvSpPr>
          <p:spPr>
            <a:xfrm>
              <a:off x="3344657" y="5707559"/>
              <a:ext cx="19131" cy="19105"/>
            </a:xfrm>
            <a:custGeom>
              <a:avLst/>
              <a:gdLst>
                <a:gd name="connsiteX0" fmla="*/ 3548 w 19131"/>
                <a:gd name="connsiteY0" fmla="*/ 16973 h 19105"/>
                <a:gd name="connsiteX1" fmla="*/ 16999 w 19131"/>
                <a:gd name="connsiteY1" fmla="*/ 15557 h 19105"/>
                <a:gd name="connsiteX2" fmla="*/ 16999 w 19131"/>
                <a:gd name="connsiteY2" fmla="*/ 15557 h 19105"/>
                <a:gd name="connsiteX3" fmla="*/ 15584 w 19131"/>
                <a:gd name="connsiteY3" fmla="*/ 2104 h 19105"/>
                <a:gd name="connsiteX4" fmla="*/ 2133 w 19131"/>
                <a:gd name="connsiteY4" fmla="*/ 3555 h 19105"/>
                <a:gd name="connsiteX5" fmla="*/ 3548 w 19131"/>
                <a:gd name="connsiteY5" fmla="*/ 16973 h 19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31" h="19105">
                  <a:moveTo>
                    <a:pt x="3548" y="16973"/>
                  </a:moveTo>
                  <a:cubicBezTo>
                    <a:pt x="7655" y="20301"/>
                    <a:pt x="13672" y="19664"/>
                    <a:pt x="16999" y="15557"/>
                  </a:cubicBezTo>
                  <a:cubicBezTo>
                    <a:pt x="16999" y="15557"/>
                    <a:pt x="16999" y="15557"/>
                    <a:pt x="16999" y="15557"/>
                  </a:cubicBezTo>
                  <a:cubicBezTo>
                    <a:pt x="20327" y="11450"/>
                    <a:pt x="19690" y="5432"/>
                    <a:pt x="15584" y="2104"/>
                  </a:cubicBezTo>
                  <a:cubicBezTo>
                    <a:pt x="11477" y="-1188"/>
                    <a:pt x="5460" y="-551"/>
                    <a:pt x="2133" y="3555"/>
                  </a:cubicBezTo>
                  <a:cubicBezTo>
                    <a:pt x="-1195" y="7627"/>
                    <a:pt x="-558" y="13645"/>
                    <a:pt x="3548" y="169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1" name="Freihandform 483">
              <a:extLst>
                <a:ext uri="{FF2B5EF4-FFF2-40B4-BE49-F238E27FC236}">
                  <a16:creationId xmlns:a16="http://schemas.microsoft.com/office/drawing/2014/main" id="{F2316F4C-B05A-4095-80DD-30A8ACE4ACBB}"/>
                </a:ext>
              </a:extLst>
            </p:cNvPr>
            <p:cNvSpPr/>
            <p:nvPr/>
          </p:nvSpPr>
          <p:spPr>
            <a:xfrm>
              <a:off x="2918117" y="5549765"/>
              <a:ext cx="18918" cy="18975"/>
            </a:xfrm>
            <a:custGeom>
              <a:avLst/>
              <a:gdLst>
                <a:gd name="connsiteX0" fmla="*/ 3548 w 18918"/>
                <a:gd name="connsiteY0" fmla="*/ 16872 h 18975"/>
                <a:gd name="connsiteX1" fmla="*/ 16504 w 18918"/>
                <a:gd name="connsiteY1" fmla="*/ 15633 h 18975"/>
                <a:gd name="connsiteX2" fmla="*/ 16646 w 18918"/>
                <a:gd name="connsiteY2" fmla="*/ 15456 h 18975"/>
                <a:gd name="connsiteX3" fmla="*/ 15584 w 18918"/>
                <a:gd name="connsiteY3" fmla="*/ 2003 h 18975"/>
                <a:gd name="connsiteX4" fmla="*/ 2133 w 18918"/>
                <a:gd name="connsiteY4" fmla="*/ 3419 h 18975"/>
                <a:gd name="connsiteX5" fmla="*/ 3548 w 18918"/>
                <a:gd name="connsiteY5" fmla="*/ 16872 h 18975"/>
                <a:gd name="connsiteX6" fmla="*/ 3548 w 18918"/>
                <a:gd name="connsiteY6" fmla="*/ 16872 h 1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18" h="18975">
                  <a:moveTo>
                    <a:pt x="3548" y="16872"/>
                  </a:moveTo>
                  <a:cubicBezTo>
                    <a:pt x="7478" y="20094"/>
                    <a:pt x="13283" y="19563"/>
                    <a:pt x="16504" y="15633"/>
                  </a:cubicBezTo>
                  <a:cubicBezTo>
                    <a:pt x="16539" y="15562"/>
                    <a:pt x="16610" y="15527"/>
                    <a:pt x="16646" y="15456"/>
                  </a:cubicBezTo>
                  <a:cubicBezTo>
                    <a:pt x="20044" y="11455"/>
                    <a:pt x="19583" y="5437"/>
                    <a:pt x="15584" y="2003"/>
                  </a:cubicBezTo>
                  <a:cubicBezTo>
                    <a:pt x="11407" y="-1148"/>
                    <a:pt x="5531" y="-511"/>
                    <a:pt x="2133" y="3419"/>
                  </a:cubicBezTo>
                  <a:cubicBezTo>
                    <a:pt x="-1195" y="7526"/>
                    <a:pt x="-558" y="13544"/>
                    <a:pt x="3548" y="16872"/>
                  </a:cubicBezTo>
                  <a:cubicBezTo>
                    <a:pt x="3548" y="16872"/>
                    <a:pt x="3548" y="16872"/>
                    <a:pt x="3548" y="1687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2" name="Freihandform 484">
              <a:extLst>
                <a:ext uri="{FF2B5EF4-FFF2-40B4-BE49-F238E27FC236}">
                  <a16:creationId xmlns:a16="http://schemas.microsoft.com/office/drawing/2014/main" id="{E7D21EAF-AE98-4FAA-AC84-858F8B2E1522}"/>
                </a:ext>
              </a:extLst>
            </p:cNvPr>
            <p:cNvSpPr/>
            <p:nvPr/>
          </p:nvSpPr>
          <p:spPr>
            <a:xfrm>
              <a:off x="3101960" y="5729340"/>
              <a:ext cx="20207" cy="20096"/>
            </a:xfrm>
            <a:custGeom>
              <a:avLst/>
              <a:gdLst>
                <a:gd name="connsiteX0" fmla="*/ 3418 w 20207"/>
                <a:gd name="connsiteY0" fmla="*/ 16788 h 20096"/>
                <a:gd name="connsiteX1" fmla="*/ 16905 w 20207"/>
                <a:gd name="connsiteY1" fmla="*/ 17779 h 20096"/>
                <a:gd name="connsiteX2" fmla="*/ 17861 w 20207"/>
                <a:gd name="connsiteY2" fmla="*/ 4291 h 20096"/>
                <a:gd name="connsiteX3" fmla="*/ 15453 w 20207"/>
                <a:gd name="connsiteY3" fmla="*/ 2273 h 20096"/>
                <a:gd name="connsiteX4" fmla="*/ 2002 w 20207"/>
                <a:gd name="connsiteY4" fmla="*/ 3335 h 20096"/>
                <a:gd name="connsiteX5" fmla="*/ 3418 w 20207"/>
                <a:gd name="connsiteY5" fmla="*/ 16788 h 20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207" h="20096">
                  <a:moveTo>
                    <a:pt x="3418" y="16788"/>
                  </a:moveTo>
                  <a:cubicBezTo>
                    <a:pt x="6887" y="20788"/>
                    <a:pt x="12905" y="21213"/>
                    <a:pt x="16905" y="17779"/>
                  </a:cubicBezTo>
                  <a:cubicBezTo>
                    <a:pt x="20905" y="14310"/>
                    <a:pt x="21330" y="8291"/>
                    <a:pt x="17861" y="4291"/>
                  </a:cubicBezTo>
                  <a:cubicBezTo>
                    <a:pt x="17188" y="3476"/>
                    <a:pt x="16374" y="2804"/>
                    <a:pt x="15453" y="2273"/>
                  </a:cubicBezTo>
                  <a:cubicBezTo>
                    <a:pt x="11454" y="-1126"/>
                    <a:pt x="5436" y="-665"/>
                    <a:pt x="2002" y="3335"/>
                  </a:cubicBezTo>
                  <a:cubicBezTo>
                    <a:pt x="-1148" y="7477"/>
                    <a:pt x="-511" y="13389"/>
                    <a:pt x="3418" y="1678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3" name="Freihandform 485">
              <a:extLst>
                <a:ext uri="{FF2B5EF4-FFF2-40B4-BE49-F238E27FC236}">
                  <a16:creationId xmlns:a16="http://schemas.microsoft.com/office/drawing/2014/main" id="{FBBDDB6E-0848-4997-A5BD-5BBA4D1E4854}"/>
                </a:ext>
              </a:extLst>
            </p:cNvPr>
            <p:cNvSpPr/>
            <p:nvPr/>
          </p:nvSpPr>
          <p:spPr>
            <a:xfrm>
              <a:off x="2944343" y="5745976"/>
              <a:ext cx="19924" cy="20098"/>
            </a:xfrm>
            <a:custGeom>
              <a:avLst/>
              <a:gdLst>
                <a:gd name="connsiteX0" fmla="*/ 3519 w 19924"/>
                <a:gd name="connsiteY0" fmla="*/ 17853 h 20098"/>
                <a:gd name="connsiteX1" fmla="*/ 16510 w 19924"/>
                <a:gd name="connsiteY1" fmla="*/ 16933 h 20098"/>
                <a:gd name="connsiteX2" fmla="*/ 16616 w 19924"/>
                <a:gd name="connsiteY2" fmla="*/ 16792 h 20098"/>
                <a:gd name="connsiteX3" fmla="*/ 17607 w 19924"/>
                <a:gd name="connsiteY3" fmla="*/ 3303 h 20098"/>
                <a:gd name="connsiteX4" fmla="*/ 4121 w 19924"/>
                <a:gd name="connsiteY4" fmla="*/ 2347 h 20098"/>
                <a:gd name="connsiteX5" fmla="*/ 2103 w 19924"/>
                <a:gd name="connsiteY5" fmla="*/ 4755 h 20098"/>
                <a:gd name="connsiteX6" fmla="*/ 3342 w 19924"/>
                <a:gd name="connsiteY6" fmla="*/ 17712 h 20098"/>
                <a:gd name="connsiteX7" fmla="*/ 3519 w 19924"/>
                <a:gd name="connsiteY7" fmla="*/ 17853 h 20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924" h="20098">
                  <a:moveTo>
                    <a:pt x="3519" y="17853"/>
                  </a:moveTo>
                  <a:cubicBezTo>
                    <a:pt x="7377" y="21182"/>
                    <a:pt x="13182" y="20757"/>
                    <a:pt x="16510" y="16933"/>
                  </a:cubicBezTo>
                  <a:cubicBezTo>
                    <a:pt x="16545" y="16898"/>
                    <a:pt x="16581" y="16827"/>
                    <a:pt x="16616" y="16792"/>
                  </a:cubicBezTo>
                  <a:cubicBezTo>
                    <a:pt x="20616" y="13322"/>
                    <a:pt x="21041" y="7304"/>
                    <a:pt x="17607" y="3303"/>
                  </a:cubicBezTo>
                  <a:cubicBezTo>
                    <a:pt x="14138" y="-697"/>
                    <a:pt x="8121" y="-1122"/>
                    <a:pt x="4121" y="2347"/>
                  </a:cubicBezTo>
                  <a:cubicBezTo>
                    <a:pt x="3307" y="3020"/>
                    <a:pt x="2634" y="3834"/>
                    <a:pt x="2103" y="4755"/>
                  </a:cubicBezTo>
                  <a:cubicBezTo>
                    <a:pt x="-1118" y="8684"/>
                    <a:pt x="-587" y="14490"/>
                    <a:pt x="3342" y="17712"/>
                  </a:cubicBezTo>
                  <a:cubicBezTo>
                    <a:pt x="3412" y="17747"/>
                    <a:pt x="3448" y="17818"/>
                    <a:pt x="3519" y="1785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4" name="Freihandform 486">
              <a:extLst>
                <a:ext uri="{FF2B5EF4-FFF2-40B4-BE49-F238E27FC236}">
                  <a16:creationId xmlns:a16="http://schemas.microsoft.com/office/drawing/2014/main" id="{C6511FFC-8232-4461-B9F4-24203BDF84F6}"/>
                </a:ext>
              </a:extLst>
            </p:cNvPr>
            <p:cNvSpPr/>
            <p:nvPr/>
          </p:nvSpPr>
          <p:spPr>
            <a:xfrm>
              <a:off x="4029244" y="5062979"/>
              <a:ext cx="19132" cy="19004"/>
            </a:xfrm>
            <a:custGeom>
              <a:avLst/>
              <a:gdLst>
                <a:gd name="connsiteX0" fmla="*/ 3548 w 19132"/>
                <a:gd name="connsiteY0" fmla="*/ 16872 h 19004"/>
                <a:gd name="connsiteX1" fmla="*/ 17000 w 19132"/>
                <a:gd name="connsiteY1" fmla="*/ 15456 h 19004"/>
                <a:gd name="connsiteX2" fmla="*/ 15584 w 19132"/>
                <a:gd name="connsiteY2" fmla="*/ 2003 h 19004"/>
                <a:gd name="connsiteX3" fmla="*/ 2133 w 19132"/>
                <a:gd name="connsiteY3" fmla="*/ 3419 h 19004"/>
                <a:gd name="connsiteX4" fmla="*/ 3548 w 19132"/>
                <a:gd name="connsiteY4" fmla="*/ 16872 h 19004"/>
                <a:gd name="connsiteX5" fmla="*/ 3548 w 19132"/>
                <a:gd name="connsiteY5" fmla="*/ 16872 h 19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32" h="19004">
                  <a:moveTo>
                    <a:pt x="3548" y="16872"/>
                  </a:moveTo>
                  <a:cubicBezTo>
                    <a:pt x="7655" y="20200"/>
                    <a:pt x="13672" y="19563"/>
                    <a:pt x="17000" y="15456"/>
                  </a:cubicBezTo>
                  <a:cubicBezTo>
                    <a:pt x="20327" y="11349"/>
                    <a:pt x="19690" y="5331"/>
                    <a:pt x="15584" y="2003"/>
                  </a:cubicBezTo>
                  <a:cubicBezTo>
                    <a:pt x="11442" y="-1148"/>
                    <a:pt x="5531" y="-511"/>
                    <a:pt x="2133" y="3419"/>
                  </a:cubicBezTo>
                  <a:cubicBezTo>
                    <a:pt x="-1195" y="7526"/>
                    <a:pt x="-558" y="13544"/>
                    <a:pt x="3548" y="16872"/>
                  </a:cubicBezTo>
                  <a:cubicBezTo>
                    <a:pt x="3548" y="16872"/>
                    <a:pt x="3548" y="16872"/>
                    <a:pt x="3548" y="1687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5" name="Freihandform 487">
              <a:extLst>
                <a:ext uri="{FF2B5EF4-FFF2-40B4-BE49-F238E27FC236}">
                  <a16:creationId xmlns:a16="http://schemas.microsoft.com/office/drawing/2014/main" id="{941FBD38-AE07-41F4-BA51-57CBE9767FEB}"/>
                </a:ext>
              </a:extLst>
            </p:cNvPr>
            <p:cNvSpPr/>
            <p:nvPr/>
          </p:nvSpPr>
          <p:spPr>
            <a:xfrm>
              <a:off x="3327624" y="5614589"/>
              <a:ext cx="31856" cy="31865"/>
            </a:xfrm>
            <a:custGeom>
              <a:avLst/>
              <a:gdLst>
                <a:gd name="connsiteX0" fmla="*/ 5714 w 31856"/>
                <a:gd name="connsiteY0" fmla="*/ 28164 h 31865"/>
                <a:gd name="connsiteX1" fmla="*/ 28156 w 31856"/>
                <a:gd name="connsiteY1" fmla="*/ 26146 h 31865"/>
                <a:gd name="connsiteX2" fmla="*/ 26139 w 31856"/>
                <a:gd name="connsiteY2" fmla="*/ 3701 h 31865"/>
                <a:gd name="connsiteX3" fmla="*/ 3697 w 31856"/>
                <a:gd name="connsiteY3" fmla="*/ 5719 h 31865"/>
                <a:gd name="connsiteX4" fmla="*/ 3590 w 31856"/>
                <a:gd name="connsiteY4" fmla="*/ 5861 h 31865"/>
                <a:gd name="connsiteX5" fmla="*/ 5714 w 31856"/>
                <a:gd name="connsiteY5" fmla="*/ 28164 h 31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856" h="31865">
                  <a:moveTo>
                    <a:pt x="5714" y="28164"/>
                  </a:moveTo>
                  <a:cubicBezTo>
                    <a:pt x="12475" y="33793"/>
                    <a:pt x="22528" y="32908"/>
                    <a:pt x="28156" y="26146"/>
                  </a:cubicBezTo>
                  <a:cubicBezTo>
                    <a:pt x="33785" y="19385"/>
                    <a:pt x="32900" y="9365"/>
                    <a:pt x="26139" y="3701"/>
                  </a:cubicBezTo>
                  <a:cubicBezTo>
                    <a:pt x="19378" y="-1928"/>
                    <a:pt x="9360" y="-1043"/>
                    <a:pt x="3697" y="5719"/>
                  </a:cubicBezTo>
                  <a:cubicBezTo>
                    <a:pt x="3661" y="5754"/>
                    <a:pt x="3626" y="5825"/>
                    <a:pt x="3590" y="5861"/>
                  </a:cubicBezTo>
                  <a:cubicBezTo>
                    <a:pt x="-1932" y="12623"/>
                    <a:pt x="-976" y="22571"/>
                    <a:pt x="5714" y="2816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6" name="Freihandform 488">
              <a:extLst>
                <a:ext uri="{FF2B5EF4-FFF2-40B4-BE49-F238E27FC236}">
                  <a16:creationId xmlns:a16="http://schemas.microsoft.com/office/drawing/2014/main" id="{6417B977-325C-4547-9F4C-C596B000ED84}"/>
                </a:ext>
              </a:extLst>
            </p:cNvPr>
            <p:cNvSpPr/>
            <p:nvPr/>
          </p:nvSpPr>
          <p:spPr>
            <a:xfrm>
              <a:off x="2756239" y="5502772"/>
              <a:ext cx="19047" cy="19053"/>
            </a:xfrm>
            <a:custGeom>
              <a:avLst/>
              <a:gdLst>
                <a:gd name="connsiteX0" fmla="*/ 3307 w 19047"/>
                <a:gd name="connsiteY0" fmla="*/ 16780 h 19053"/>
                <a:gd name="connsiteX1" fmla="*/ 16758 w 19047"/>
                <a:gd name="connsiteY1" fmla="*/ 15718 h 19053"/>
                <a:gd name="connsiteX2" fmla="*/ 15908 w 19047"/>
                <a:gd name="connsiteY2" fmla="*/ 2725 h 19053"/>
                <a:gd name="connsiteX3" fmla="*/ 15342 w 19047"/>
                <a:gd name="connsiteY3" fmla="*/ 2265 h 19053"/>
                <a:gd name="connsiteX4" fmla="*/ 2847 w 19047"/>
                <a:gd name="connsiteY4" fmla="*/ 2937 h 19053"/>
                <a:gd name="connsiteX5" fmla="*/ 2245 w 19047"/>
                <a:gd name="connsiteY5" fmla="*/ 3681 h 19053"/>
                <a:gd name="connsiteX6" fmla="*/ 3165 w 19047"/>
                <a:gd name="connsiteY6" fmla="*/ 16674 h 19053"/>
                <a:gd name="connsiteX7" fmla="*/ 3307 w 19047"/>
                <a:gd name="connsiteY7" fmla="*/ 16780 h 1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47" h="19053">
                  <a:moveTo>
                    <a:pt x="3307" y="16780"/>
                  </a:moveTo>
                  <a:cubicBezTo>
                    <a:pt x="7307" y="20179"/>
                    <a:pt x="13324" y="19719"/>
                    <a:pt x="16758" y="15718"/>
                  </a:cubicBezTo>
                  <a:cubicBezTo>
                    <a:pt x="20121" y="11894"/>
                    <a:pt x="19731" y="6088"/>
                    <a:pt x="15908" y="2725"/>
                  </a:cubicBezTo>
                  <a:cubicBezTo>
                    <a:pt x="15731" y="2548"/>
                    <a:pt x="15554" y="2407"/>
                    <a:pt x="15342" y="2265"/>
                  </a:cubicBezTo>
                  <a:cubicBezTo>
                    <a:pt x="11696" y="-992"/>
                    <a:pt x="6103" y="-709"/>
                    <a:pt x="2847" y="2937"/>
                  </a:cubicBezTo>
                  <a:cubicBezTo>
                    <a:pt x="2634" y="3185"/>
                    <a:pt x="2422" y="3433"/>
                    <a:pt x="2245" y="3681"/>
                  </a:cubicBezTo>
                  <a:cubicBezTo>
                    <a:pt x="-1082" y="7540"/>
                    <a:pt x="-658" y="13346"/>
                    <a:pt x="3165" y="16674"/>
                  </a:cubicBezTo>
                  <a:cubicBezTo>
                    <a:pt x="3201" y="16709"/>
                    <a:pt x="3271" y="16744"/>
                    <a:pt x="3307" y="1678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7" name="Freihandform 489">
              <a:extLst>
                <a:ext uri="{FF2B5EF4-FFF2-40B4-BE49-F238E27FC236}">
                  <a16:creationId xmlns:a16="http://schemas.microsoft.com/office/drawing/2014/main" id="{95CC4557-02C4-441B-A853-1054FF6CCEBB}"/>
                </a:ext>
              </a:extLst>
            </p:cNvPr>
            <p:cNvSpPr/>
            <p:nvPr/>
          </p:nvSpPr>
          <p:spPr>
            <a:xfrm>
              <a:off x="2535825" y="4370758"/>
              <a:ext cx="19131" cy="19106"/>
            </a:xfrm>
            <a:custGeom>
              <a:avLst/>
              <a:gdLst>
                <a:gd name="connsiteX0" fmla="*/ 3548 w 19131"/>
                <a:gd name="connsiteY0" fmla="*/ 16973 h 19106"/>
                <a:gd name="connsiteX1" fmla="*/ 16999 w 19131"/>
                <a:gd name="connsiteY1" fmla="*/ 15557 h 19106"/>
                <a:gd name="connsiteX2" fmla="*/ 16999 w 19131"/>
                <a:gd name="connsiteY2" fmla="*/ 15557 h 19106"/>
                <a:gd name="connsiteX3" fmla="*/ 15584 w 19131"/>
                <a:gd name="connsiteY3" fmla="*/ 2104 h 19106"/>
                <a:gd name="connsiteX4" fmla="*/ 2133 w 19131"/>
                <a:gd name="connsiteY4" fmla="*/ 3556 h 19106"/>
                <a:gd name="connsiteX5" fmla="*/ 3548 w 19131"/>
                <a:gd name="connsiteY5" fmla="*/ 16973 h 19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31" h="19106">
                  <a:moveTo>
                    <a:pt x="3548" y="16973"/>
                  </a:moveTo>
                  <a:cubicBezTo>
                    <a:pt x="7655" y="20301"/>
                    <a:pt x="13672" y="19664"/>
                    <a:pt x="16999" y="15557"/>
                  </a:cubicBezTo>
                  <a:cubicBezTo>
                    <a:pt x="16999" y="15557"/>
                    <a:pt x="16999" y="15557"/>
                    <a:pt x="16999" y="15557"/>
                  </a:cubicBezTo>
                  <a:cubicBezTo>
                    <a:pt x="20327" y="11450"/>
                    <a:pt x="19690" y="5432"/>
                    <a:pt x="15584" y="2104"/>
                  </a:cubicBezTo>
                  <a:cubicBezTo>
                    <a:pt x="11477" y="-1188"/>
                    <a:pt x="5460" y="-551"/>
                    <a:pt x="2133" y="3556"/>
                  </a:cubicBezTo>
                  <a:cubicBezTo>
                    <a:pt x="-1195" y="7627"/>
                    <a:pt x="-558" y="13645"/>
                    <a:pt x="3548" y="169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8" name="Freihandform 490">
              <a:extLst>
                <a:ext uri="{FF2B5EF4-FFF2-40B4-BE49-F238E27FC236}">
                  <a16:creationId xmlns:a16="http://schemas.microsoft.com/office/drawing/2014/main" id="{2D726B48-5E31-42D8-A43C-F896E4D7BED1}"/>
                </a:ext>
              </a:extLst>
            </p:cNvPr>
            <p:cNvSpPr/>
            <p:nvPr/>
          </p:nvSpPr>
          <p:spPr>
            <a:xfrm>
              <a:off x="3324651" y="4134791"/>
              <a:ext cx="20166" cy="20113"/>
            </a:xfrm>
            <a:custGeom>
              <a:avLst/>
              <a:gdLst>
                <a:gd name="connsiteX0" fmla="*/ 3378 w 20166"/>
                <a:gd name="connsiteY0" fmla="*/ 16805 h 20113"/>
                <a:gd name="connsiteX1" fmla="*/ 16864 w 20166"/>
                <a:gd name="connsiteY1" fmla="*/ 17796 h 20113"/>
                <a:gd name="connsiteX2" fmla="*/ 17820 w 20166"/>
                <a:gd name="connsiteY2" fmla="*/ 4308 h 20113"/>
                <a:gd name="connsiteX3" fmla="*/ 15413 w 20166"/>
                <a:gd name="connsiteY3" fmla="*/ 2290 h 20113"/>
                <a:gd name="connsiteX4" fmla="*/ 2422 w 20166"/>
                <a:gd name="connsiteY4" fmla="*/ 3140 h 20113"/>
                <a:gd name="connsiteX5" fmla="*/ 1962 w 20166"/>
                <a:gd name="connsiteY5" fmla="*/ 3706 h 20113"/>
                <a:gd name="connsiteX6" fmla="*/ 3378 w 20166"/>
                <a:gd name="connsiteY6" fmla="*/ 16805 h 20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66" h="20113">
                  <a:moveTo>
                    <a:pt x="3378" y="16805"/>
                  </a:moveTo>
                  <a:cubicBezTo>
                    <a:pt x="6846" y="20806"/>
                    <a:pt x="12864" y="21230"/>
                    <a:pt x="16864" y="17796"/>
                  </a:cubicBezTo>
                  <a:cubicBezTo>
                    <a:pt x="20864" y="14327"/>
                    <a:pt x="21289" y="8309"/>
                    <a:pt x="17820" y="4308"/>
                  </a:cubicBezTo>
                  <a:cubicBezTo>
                    <a:pt x="17147" y="3494"/>
                    <a:pt x="16333" y="2821"/>
                    <a:pt x="15413" y="2290"/>
                  </a:cubicBezTo>
                  <a:cubicBezTo>
                    <a:pt x="11590" y="-1073"/>
                    <a:pt x="5785" y="-684"/>
                    <a:pt x="2422" y="3140"/>
                  </a:cubicBezTo>
                  <a:cubicBezTo>
                    <a:pt x="2245" y="3317"/>
                    <a:pt x="2103" y="3494"/>
                    <a:pt x="1962" y="3706"/>
                  </a:cubicBezTo>
                  <a:cubicBezTo>
                    <a:pt x="-1118" y="7742"/>
                    <a:pt x="-516" y="13513"/>
                    <a:pt x="3378" y="16805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399" name="Freihandform 491">
              <a:extLst>
                <a:ext uri="{FF2B5EF4-FFF2-40B4-BE49-F238E27FC236}">
                  <a16:creationId xmlns:a16="http://schemas.microsoft.com/office/drawing/2014/main" id="{3CC8E63D-2208-43A4-830A-8B2AE9633D7B}"/>
                </a:ext>
              </a:extLst>
            </p:cNvPr>
            <p:cNvSpPr/>
            <p:nvPr/>
          </p:nvSpPr>
          <p:spPr>
            <a:xfrm>
              <a:off x="1056029" y="3370764"/>
              <a:ext cx="19118" cy="19098"/>
            </a:xfrm>
            <a:custGeom>
              <a:avLst/>
              <a:gdLst>
                <a:gd name="connsiteX0" fmla="*/ 3377 w 19118"/>
                <a:gd name="connsiteY0" fmla="*/ 16844 h 19098"/>
                <a:gd name="connsiteX1" fmla="*/ 16864 w 19118"/>
                <a:gd name="connsiteY1" fmla="*/ 15711 h 19098"/>
                <a:gd name="connsiteX2" fmla="*/ 15731 w 19118"/>
                <a:gd name="connsiteY2" fmla="*/ 2258 h 19098"/>
                <a:gd name="connsiteX3" fmla="*/ 2245 w 19118"/>
                <a:gd name="connsiteY3" fmla="*/ 3356 h 19098"/>
                <a:gd name="connsiteX4" fmla="*/ 1962 w 19118"/>
                <a:gd name="connsiteY4" fmla="*/ 3745 h 19098"/>
                <a:gd name="connsiteX5" fmla="*/ 3377 w 19118"/>
                <a:gd name="connsiteY5" fmla="*/ 16844 h 19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18" h="19098">
                  <a:moveTo>
                    <a:pt x="3377" y="16844"/>
                  </a:moveTo>
                  <a:cubicBezTo>
                    <a:pt x="7413" y="20243"/>
                    <a:pt x="13430" y="19747"/>
                    <a:pt x="16864" y="15711"/>
                  </a:cubicBezTo>
                  <a:cubicBezTo>
                    <a:pt x="20262" y="11710"/>
                    <a:pt x="19766" y="5657"/>
                    <a:pt x="15731" y="2258"/>
                  </a:cubicBezTo>
                  <a:cubicBezTo>
                    <a:pt x="11696" y="-1141"/>
                    <a:pt x="5678" y="-645"/>
                    <a:pt x="2245" y="3356"/>
                  </a:cubicBezTo>
                  <a:cubicBezTo>
                    <a:pt x="2174" y="3497"/>
                    <a:pt x="2068" y="3604"/>
                    <a:pt x="1962" y="3745"/>
                  </a:cubicBezTo>
                  <a:cubicBezTo>
                    <a:pt x="-1118" y="7781"/>
                    <a:pt x="-516" y="13551"/>
                    <a:pt x="3377" y="16844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0" name="Freihandform 492">
              <a:extLst>
                <a:ext uri="{FF2B5EF4-FFF2-40B4-BE49-F238E27FC236}">
                  <a16:creationId xmlns:a16="http://schemas.microsoft.com/office/drawing/2014/main" id="{BCB12376-1198-4B3F-BC9C-18F8E1394065}"/>
                </a:ext>
              </a:extLst>
            </p:cNvPr>
            <p:cNvSpPr/>
            <p:nvPr/>
          </p:nvSpPr>
          <p:spPr>
            <a:xfrm>
              <a:off x="2431404" y="4131762"/>
              <a:ext cx="19103" cy="19134"/>
            </a:xfrm>
            <a:custGeom>
              <a:avLst/>
              <a:gdLst>
                <a:gd name="connsiteX0" fmla="*/ 3548 w 19103"/>
                <a:gd name="connsiteY0" fmla="*/ 17002 h 19134"/>
                <a:gd name="connsiteX1" fmla="*/ 16999 w 19103"/>
                <a:gd name="connsiteY1" fmla="*/ 15586 h 19134"/>
                <a:gd name="connsiteX2" fmla="*/ 15548 w 19103"/>
                <a:gd name="connsiteY2" fmla="*/ 2133 h 19134"/>
                <a:gd name="connsiteX3" fmla="*/ 2133 w 19103"/>
                <a:gd name="connsiteY3" fmla="*/ 3549 h 19134"/>
                <a:gd name="connsiteX4" fmla="*/ 3548 w 19103"/>
                <a:gd name="connsiteY4" fmla="*/ 17002 h 19134"/>
                <a:gd name="connsiteX5" fmla="*/ 3548 w 19103"/>
                <a:gd name="connsiteY5" fmla="*/ 17002 h 1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03" h="19134">
                  <a:moveTo>
                    <a:pt x="3548" y="17002"/>
                  </a:moveTo>
                  <a:cubicBezTo>
                    <a:pt x="7655" y="20330"/>
                    <a:pt x="13672" y="19693"/>
                    <a:pt x="16999" y="15586"/>
                  </a:cubicBezTo>
                  <a:cubicBezTo>
                    <a:pt x="20292" y="11479"/>
                    <a:pt x="19654" y="5461"/>
                    <a:pt x="15548" y="2133"/>
                  </a:cubicBezTo>
                  <a:cubicBezTo>
                    <a:pt x="11477" y="-1195"/>
                    <a:pt x="5460" y="-558"/>
                    <a:pt x="2133" y="3549"/>
                  </a:cubicBezTo>
                  <a:cubicBezTo>
                    <a:pt x="-1195" y="7656"/>
                    <a:pt x="-558" y="13674"/>
                    <a:pt x="3548" y="17002"/>
                  </a:cubicBezTo>
                  <a:cubicBezTo>
                    <a:pt x="3548" y="17002"/>
                    <a:pt x="3548" y="17002"/>
                    <a:pt x="3548" y="1700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1" name="Freihandform 493">
              <a:extLst>
                <a:ext uri="{FF2B5EF4-FFF2-40B4-BE49-F238E27FC236}">
                  <a16:creationId xmlns:a16="http://schemas.microsoft.com/office/drawing/2014/main" id="{AC37BFF1-AEDF-472B-99FA-680112CDE1FD}"/>
                </a:ext>
              </a:extLst>
            </p:cNvPr>
            <p:cNvSpPr/>
            <p:nvPr/>
          </p:nvSpPr>
          <p:spPr>
            <a:xfrm>
              <a:off x="2389634" y="4152679"/>
              <a:ext cx="19131" cy="19106"/>
            </a:xfrm>
            <a:custGeom>
              <a:avLst/>
              <a:gdLst>
                <a:gd name="connsiteX0" fmla="*/ 3548 w 19131"/>
                <a:gd name="connsiteY0" fmla="*/ 16973 h 19106"/>
                <a:gd name="connsiteX1" fmla="*/ 16999 w 19131"/>
                <a:gd name="connsiteY1" fmla="*/ 15557 h 19106"/>
                <a:gd name="connsiteX2" fmla="*/ 16999 w 19131"/>
                <a:gd name="connsiteY2" fmla="*/ 15557 h 19106"/>
                <a:gd name="connsiteX3" fmla="*/ 15584 w 19131"/>
                <a:gd name="connsiteY3" fmla="*/ 2104 h 19106"/>
                <a:gd name="connsiteX4" fmla="*/ 2133 w 19131"/>
                <a:gd name="connsiteY4" fmla="*/ 3556 h 19106"/>
                <a:gd name="connsiteX5" fmla="*/ 3548 w 19131"/>
                <a:gd name="connsiteY5" fmla="*/ 16973 h 19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31" h="19106">
                  <a:moveTo>
                    <a:pt x="3548" y="16973"/>
                  </a:moveTo>
                  <a:cubicBezTo>
                    <a:pt x="7655" y="20301"/>
                    <a:pt x="13672" y="19664"/>
                    <a:pt x="16999" y="15557"/>
                  </a:cubicBezTo>
                  <a:cubicBezTo>
                    <a:pt x="16999" y="15557"/>
                    <a:pt x="16999" y="15557"/>
                    <a:pt x="16999" y="15557"/>
                  </a:cubicBezTo>
                  <a:cubicBezTo>
                    <a:pt x="20327" y="11450"/>
                    <a:pt x="19690" y="5432"/>
                    <a:pt x="15584" y="2104"/>
                  </a:cubicBezTo>
                  <a:cubicBezTo>
                    <a:pt x="11477" y="-1188"/>
                    <a:pt x="5460" y="-551"/>
                    <a:pt x="2133" y="3556"/>
                  </a:cubicBezTo>
                  <a:cubicBezTo>
                    <a:pt x="-1195" y="7627"/>
                    <a:pt x="-558" y="13645"/>
                    <a:pt x="3548" y="169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2" name="Freihandform 494">
              <a:extLst>
                <a:ext uri="{FF2B5EF4-FFF2-40B4-BE49-F238E27FC236}">
                  <a16:creationId xmlns:a16="http://schemas.microsoft.com/office/drawing/2014/main" id="{C724DE94-580D-49D4-A1F0-71C97B049EB0}"/>
                </a:ext>
              </a:extLst>
            </p:cNvPr>
            <p:cNvSpPr/>
            <p:nvPr/>
          </p:nvSpPr>
          <p:spPr>
            <a:xfrm>
              <a:off x="2466289" y="4418169"/>
              <a:ext cx="19260" cy="19134"/>
            </a:xfrm>
            <a:custGeom>
              <a:avLst/>
              <a:gdLst>
                <a:gd name="connsiteX0" fmla="*/ 3706 w 19260"/>
                <a:gd name="connsiteY0" fmla="*/ 17002 h 19134"/>
                <a:gd name="connsiteX1" fmla="*/ 17157 w 19260"/>
                <a:gd name="connsiteY1" fmla="*/ 15586 h 19134"/>
                <a:gd name="connsiteX2" fmla="*/ 15706 w 19260"/>
                <a:gd name="connsiteY2" fmla="*/ 2133 h 19134"/>
                <a:gd name="connsiteX3" fmla="*/ 2290 w 19260"/>
                <a:gd name="connsiteY3" fmla="*/ 3549 h 19134"/>
                <a:gd name="connsiteX4" fmla="*/ 3139 w 19260"/>
                <a:gd name="connsiteY4" fmla="*/ 16542 h 19134"/>
                <a:gd name="connsiteX5" fmla="*/ 3706 w 19260"/>
                <a:gd name="connsiteY5" fmla="*/ 17002 h 19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260" h="19134">
                  <a:moveTo>
                    <a:pt x="3706" y="17002"/>
                  </a:moveTo>
                  <a:cubicBezTo>
                    <a:pt x="7812" y="20330"/>
                    <a:pt x="13829" y="19693"/>
                    <a:pt x="17157" y="15586"/>
                  </a:cubicBezTo>
                  <a:cubicBezTo>
                    <a:pt x="20449" y="11479"/>
                    <a:pt x="19812" y="5461"/>
                    <a:pt x="15706" y="2133"/>
                  </a:cubicBezTo>
                  <a:cubicBezTo>
                    <a:pt x="11635" y="-1195"/>
                    <a:pt x="5617" y="-558"/>
                    <a:pt x="2290" y="3549"/>
                  </a:cubicBezTo>
                  <a:cubicBezTo>
                    <a:pt x="-1073" y="7372"/>
                    <a:pt x="-684" y="13178"/>
                    <a:pt x="3139" y="16542"/>
                  </a:cubicBezTo>
                  <a:cubicBezTo>
                    <a:pt x="3316" y="16683"/>
                    <a:pt x="3494" y="16860"/>
                    <a:pt x="3706" y="1700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3" name="Freihandform 495">
              <a:extLst>
                <a:ext uri="{FF2B5EF4-FFF2-40B4-BE49-F238E27FC236}">
                  <a16:creationId xmlns:a16="http://schemas.microsoft.com/office/drawing/2014/main" id="{AD863136-2C3F-4750-BFDD-C667D7FD3098}"/>
                </a:ext>
              </a:extLst>
            </p:cNvPr>
            <p:cNvSpPr/>
            <p:nvPr/>
          </p:nvSpPr>
          <p:spPr>
            <a:xfrm>
              <a:off x="1707385" y="2868783"/>
              <a:ext cx="19119" cy="19119"/>
            </a:xfrm>
            <a:custGeom>
              <a:avLst/>
              <a:gdLst>
                <a:gd name="connsiteX0" fmla="*/ 3335 w 19119"/>
                <a:gd name="connsiteY0" fmla="*/ 16817 h 19119"/>
                <a:gd name="connsiteX1" fmla="*/ 16821 w 19119"/>
                <a:gd name="connsiteY1" fmla="*/ 15791 h 19119"/>
                <a:gd name="connsiteX2" fmla="*/ 15759 w 19119"/>
                <a:gd name="connsiteY2" fmla="*/ 2302 h 19119"/>
                <a:gd name="connsiteX3" fmla="*/ 2308 w 19119"/>
                <a:gd name="connsiteY3" fmla="*/ 3329 h 19119"/>
                <a:gd name="connsiteX4" fmla="*/ 2273 w 19119"/>
                <a:gd name="connsiteY4" fmla="*/ 3365 h 19119"/>
                <a:gd name="connsiteX5" fmla="*/ 3335 w 19119"/>
                <a:gd name="connsiteY5" fmla="*/ 16817 h 19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19" h="19119">
                  <a:moveTo>
                    <a:pt x="3335" y="16817"/>
                  </a:moveTo>
                  <a:cubicBezTo>
                    <a:pt x="7334" y="20251"/>
                    <a:pt x="13387" y="19791"/>
                    <a:pt x="16821" y="15791"/>
                  </a:cubicBezTo>
                  <a:cubicBezTo>
                    <a:pt x="20255" y="11755"/>
                    <a:pt x="19794" y="5736"/>
                    <a:pt x="15759" y="2302"/>
                  </a:cubicBezTo>
                  <a:cubicBezTo>
                    <a:pt x="11759" y="-1132"/>
                    <a:pt x="5742" y="-671"/>
                    <a:pt x="2308" y="3329"/>
                  </a:cubicBezTo>
                  <a:cubicBezTo>
                    <a:pt x="2273" y="3365"/>
                    <a:pt x="2273" y="3365"/>
                    <a:pt x="2273" y="3365"/>
                  </a:cubicBezTo>
                  <a:cubicBezTo>
                    <a:pt x="-1126" y="7365"/>
                    <a:pt x="-665" y="13383"/>
                    <a:pt x="3335" y="16817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4" name="Freihandform 496">
              <a:extLst>
                <a:ext uri="{FF2B5EF4-FFF2-40B4-BE49-F238E27FC236}">
                  <a16:creationId xmlns:a16="http://schemas.microsoft.com/office/drawing/2014/main" id="{291C4AF1-A38F-4575-9170-BC4397230306}"/>
                </a:ext>
              </a:extLst>
            </p:cNvPr>
            <p:cNvSpPr/>
            <p:nvPr/>
          </p:nvSpPr>
          <p:spPr>
            <a:xfrm>
              <a:off x="603136" y="2958196"/>
              <a:ext cx="19113" cy="19106"/>
            </a:xfrm>
            <a:custGeom>
              <a:avLst/>
              <a:gdLst>
                <a:gd name="connsiteX0" fmla="*/ 3539 w 19113"/>
                <a:gd name="connsiteY0" fmla="*/ 16973 h 19106"/>
                <a:gd name="connsiteX1" fmla="*/ 16982 w 19113"/>
                <a:gd name="connsiteY1" fmla="*/ 15557 h 19106"/>
                <a:gd name="connsiteX2" fmla="*/ 16990 w 19113"/>
                <a:gd name="connsiteY2" fmla="*/ 15557 h 19106"/>
                <a:gd name="connsiteX3" fmla="*/ 15567 w 19113"/>
                <a:gd name="connsiteY3" fmla="*/ 2104 h 19106"/>
                <a:gd name="connsiteX4" fmla="*/ 2126 w 19113"/>
                <a:gd name="connsiteY4" fmla="*/ 3556 h 19106"/>
                <a:gd name="connsiteX5" fmla="*/ 3539 w 19113"/>
                <a:gd name="connsiteY5" fmla="*/ 16973 h 19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13" h="19106">
                  <a:moveTo>
                    <a:pt x="3539" y="16973"/>
                  </a:moveTo>
                  <a:cubicBezTo>
                    <a:pt x="7637" y="20301"/>
                    <a:pt x="13659" y="19664"/>
                    <a:pt x="16982" y="15557"/>
                  </a:cubicBezTo>
                  <a:cubicBezTo>
                    <a:pt x="16982" y="15557"/>
                    <a:pt x="16986" y="15557"/>
                    <a:pt x="16990" y="15557"/>
                  </a:cubicBezTo>
                  <a:cubicBezTo>
                    <a:pt x="20306" y="11450"/>
                    <a:pt x="19669" y="5432"/>
                    <a:pt x="15567" y="2104"/>
                  </a:cubicBezTo>
                  <a:cubicBezTo>
                    <a:pt x="11460" y="-1188"/>
                    <a:pt x="5443" y="-551"/>
                    <a:pt x="2126" y="3556"/>
                  </a:cubicBezTo>
                  <a:cubicBezTo>
                    <a:pt x="-1191" y="7627"/>
                    <a:pt x="-557" y="13645"/>
                    <a:pt x="3539" y="16973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5" name="Freihandform 497">
              <a:extLst>
                <a:ext uri="{FF2B5EF4-FFF2-40B4-BE49-F238E27FC236}">
                  <a16:creationId xmlns:a16="http://schemas.microsoft.com/office/drawing/2014/main" id="{A3137848-2E68-4856-A952-0EB296118CA9}"/>
                </a:ext>
              </a:extLst>
            </p:cNvPr>
            <p:cNvSpPr/>
            <p:nvPr/>
          </p:nvSpPr>
          <p:spPr>
            <a:xfrm>
              <a:off x="422424" y="2959975"/>
              <a:ext cx="31869" cy="32154"/>
            </a:xfrm>
            <a:custGeom>
              <a:avLst/>
              <a:gdLst>
                <a:gd name="connsiteX0" fmla="*/ 5493 w 31869"/>
                <a:gd name="connsiteY0" fmla="*/ 29000 h 32154"/>
                <a:gd name="connsiteX1" fmla="*/ 28721 w 31869"/>
                <a:gd name="connsiteY1" fmla="*/ 25247 h 32154"/>
                <a:gd name="connsiteX2" fmla="*/ 26377 w 31869"/>
                <a:gd name="connsiteY2" fmla="*/ 3156 h 32154"/>
                <a:gd name="connsiteX3" fmla="*/ 3149 w 31869"/>
                <a:gd name="connsiteY3" fmla="*/ 6908 h 32154"/>
                <a:gd name="connsiteX4" fmla="*/ 5493 w 31869"/>
                <a:gd name="connsiteY4" fmla="*/ 29000 h 32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869" h="32154">
                  <a:moveTo>
                    <a:pt x="5493" y="29000"/>
                  </a:moveTo>
                  <a:cubicBezTo>
                    <a:pt x="12940" y="34380"/>
                    <a:pt x="23340" y="32717"/>
                    <a:pt x="28721" y="25247"/>
                  </a:cubicBezTo>
                  <a:cubicBezTo>
                    <a:pt x="33690" y="18379"/>
                    <a:pt x="32681" y="8855"/>
                    <a:pt x="26377" y="3156"/>
                  </a:cubicBezTo>
                  <a:cubicBezTo>
                    <a:pt x="18929" y="-2226"/>
                    <a:pt x="8530" y="-562"/>
                    <a:pt x="3149" y="6908"/>
                  </a:cubicBezTo>
                  <a:cubicBezTo>
                    <a:pt x="-1821" y="13776"/>
                    <a:pt x="-812" y="23299"/>
                    <a:pt x="5493" y="2900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6" name="Freihandform 498">
              <a:extLst>
                <a:ext uri="{FF2B5EF4-FFF2-40B4-BE49-F238E27FC236}">
                  <a16:creationId xmlns:a16="http://schemas.microsoft.com/office/drawing/2014/main" id="{08D55D6C-BC2E-4EBE-BCD4-B0FE7F133580}"/>
                </a:ext>
              </a:extLst>
            </p:cNvPr>
            <p:cNvSpPr/>
            <p:nvPr/>
          </p:nvSpPr>
          <p:spPr>
            <a:xfrm>
              <a:off x="398520" y="2641078"/>
              <a:ext cx="44624" cy="44515"/>
            </a:xfrm>
            <a:custGeom>
              <a:avLst/>
              <a:gdLst>
                <a:gd name="connsiteX0" fmla="*/ 8158 w 44624"/>
                <a:gd name="connsiteY0" fmla="*/ 39541 h 44515"/>
                <a:gd name="connsiteX1" fmla="*/ 40015 w 44624"/>
                <a:gd name="connsiteY1" fmla="*/ 36356 h 44515"/>
                <a:gd name="connsiteX2" fmla="*/ 35661 w 44624"/>
                <a:gd name="connsiteY2" fmla="*/ 4599 h 44515"/>
                <a:gd name="connsiteX3" fmla="*/ 4972 w 44624"/>
                <a:gd name="connsiteY3" fmla="*/ 7679 h 44515"/>
                <a:gd name="connsiteX4" fmla="*/ 8158 w 44624"/>
                <a:gd name="connsiteY4" fmla="*/ 39541 h 44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624" h="44515">
                  <a:moveTo>
                    <a:pt x="8158" y="39541"/>
                  </a:moveTo>
                  <a:cubicBezTo>
                    <a:pt x="17895" y="47259"/>
                    <a:pt x="31998" y="45843"/>
                    <a:pt x="40015" y="36356"/>
                  </a:cubicBezTo>
                  <a:cubicBezTo>
                    <a:pt x="47580" y="26372"/>
                    <a:pt x="45629" y="12175"/>
                    <a:pt x="35661" y="4599"/>
                  </a:cubicBezTo>
                  <a:cubicBezTo>
                    <a:pt x="26207" y="-2552"/>
                    <a:pt x="12820" y="-1242"/>
                    <a:pt x="4972" y="7679"/>
                  </a:cubicBezTo>
                  <a:cubicBezTo>
                    <a:pt x="-2741" y="17415"/>
                    <a:pt x="-1329" y="31505"/>
                    <a:pt x="8158" y="3954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7" name="Freihandform 499">
              <a:extLst>
                <a:ext uri="{FF2B5EF4-FFF2-40B4-BE49-F238E27FC236}">
                  <a16:creationId xmlns:a16="http://schemas.microsoft.com/office/drawing/2014/main" id="{340DD95D-A987-4326-95AE-25D924716880}"/>
                </a:ext>
              </a:extLst>
            </p:cNvPr>
            <p:cNvSpPr/>
            <p:nvPr/>
          </p:nvSpPr>
          <p:spPr>
            <a:xfrm>
              <a:off x="1876047" y="2939758"/>
              <a:ext cx="18972" cy="18920"/>
            </a:xfrm>
            <a:custGeom>
              <a:avLst/>
              <a:gdLst>
                <a:gd name="connsiteX0" fmla="*/ 3519 w 18972"/>
                <a:gd name="connsiteY0" fmla="*/ 16648 h 18920"/>
                <a:gd name="connsiteX1" fmla="*/ 16970 w 18972"/>
                <a:gd name="connsiteY1" fmla="*/ 15586 h 18920"/>
                <a:gd name="connsiteX2" fmla="*/ 15554 w 18972"/>
                <a:gd name="connsiteY2" fmla="*/ 2133 h 18920"/>
                <a:gd name="connsiteX3" fmla="*/ 2103 w 18972"/>
                <a:gd name="connsiteY3" fmla="*/ 3549 h 18920"/>
                <a:gd name="connsiteX4" fmla="*/ 2103 w 18972"/>
                <a:gd name="connsiteY4" fmla="*/ 3549 h 18920"/>
                <a:gd name="connsiteX5" fmla="*/ 3342 w 18972"/>
                <a:gd name="connsiteY5" fmla="*/ 16506 h 18920"/>
                <a:gd name="connsiteX6" fmla="*/ 3519 w 18972"/>
                <a:gd name="connsiteY6" fmla="*/ 16648 h 18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72" h="18920">
                  <a:moveTo>
                    <a:pt x="3519" y="16648"/>
                  </a:moveTo>
                  <a:cubicBezTo>
                    <a:pt x="7519" y="20047"/>
                    <a:pt x="13536" y="19586"/>
                    <a:pt x="16970" y="15586"/>
                  </a:cubicBezTo>
                  <a:cubicBezTo>
                    <a:pt x="20120" y="11408"/>
                    <a:pt x="19483" y="5531"/>
                    <a:pt x="15554" y="2133"/>
                  </a:cubicBezTo>
                  <a:cubicBezTo>
                    <a:pt x="11448" y="-1195"/>
                    <a:pt x="5430" y="-558"/>
                    <a:pt x="2103" y="3549"/>
                  </a:cubicBezTo>
                  <a:cubicBezTo>
                    <a:pt x="2103" y="3549"/>
                    <a:pt x="2103" y="3549"/>
                    <a:pt x="2103" y="3549"/>
                  </a:cubicBezTo>
                  <a:cubicBezTo>
                    <a:pt x="-1118" y="7479"/>
                    <a:pt x="-587" y="13285"/>
                    <a:pt x="3342" y="16506"/>
                  </a:cubicBezTo>
                  <a:cubicBezTo>
                    <a:pt x="3413" y="16541"/>
                    <a:pt x="3448" y="16612"/>
                    <a:pt x="3519" y="1664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8" name="Freihandform 500">
              <a:extLst>
                <a:ext uri="{FF2B5EF4-FFF2-40B4-BE49-F238E27FC236}">
                  <a16:creationId xmlns:a16="http://schemas.microsoft.com/office/drawing/2014/main" id="{FEAA7A32-7120-4440-A6E7-88B4605899F5}"/>
                </a:ext>
              </a:extLst>
            </p:cNvPr>
            <p:cNvSpPr/>
            <p:nvPr/>
          </p:nvSpPr>
          <p:spPr>
            <a:xfrm rot="18564000">
              <a:off x="958379" y="2569661"/>
              <a:ext cx="68671" cy="68681"/>
            </a:xfrm>
            <a:custGeom>
              <a:avLst/>
              <a:gdLst>
                <a:gd name="connsiteX0" fmla="*/ 68671 w 68671"/>
                <a:gd name="connsiteY0" fmla="*/ 34340 h 68681"/>
                <a:gd name="connsiteX1" fmla="*/ 34335 w 68671"/>
                <a:gd name="connsiteY1" fmla="*/ 68680 h 68681"/>
                <a:gd name="connsiteX2" fmla="*/ 0 w 68671"/>
                <a:gd name="connsiteY2" fmla="*/ 34340 h 68681"/>
                <a:gd name="connsiteX3" fmla="*/ 34335 w 68671"/>
                <a:gd name="connsiteY3" fmla="*/ -1 h 68681"/>
                <a:gd name="connsiteX4" fmla="*/ 68671 w 68671"/>
                <a:gd name="connsiteY4" fmla="*/ 34340 h 68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671" h="68681">
                  <a:moveTo>
                    <a:pt x="68671" y="34340"/>
                  </a:moveTo>
                  <a:cubicBezTo>
                    <a:pt x="68671" y="53306"/>
                    <a:pt x="53299" y="68680"/>
                    <a:pt x="34335" y="68680"/>
                  </a:cubicBezTo>
                  <a:cubicBezTo>
                    <a:pt x="15372" y="68680"/>
                    <a:pt x="0" y="53305"/>
                    <a:pt x="0" y="34340"/>
                  </a:cubicBezTo>
                  <a:cubicBezTo>
                    <a:pt x="0" y="15374"/>
                    <a:pt x="15372" y="-1"/>
                    <a:pt x="34335" y="-1"/>
                  </a:cubicBezTo>
                  <a:cubicBezTo>
                    <a:pt x="53299" y="-1"/>
                    <a:pt x="68671" y="15374"/>
                    <a:pt x="68671" y="34340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09" name="Freihandform 501">
              <a:extLst>
                <a:ext uri="{FF2B5EF4-FFF2-40B4-BE49-F238E27FC236}">
                  <a16:creationId xmlns:a16="http://schemas.microsoft.com/office/drawing/2014/main" id="{EFACDD2C-2691-487E-858B-408D248CC59F}"/>
                </a:ext>
              </a:extLst>
            </p:cNvPr>
            <p:cNvSpPr/>
            <p:nvPr/>
          </p:nvSpPr>
          <p:spPr>
            <a:xfrm>
              <a:off x="265484" y="2952019"/>
              <a:ext cx="54072" cy="54087"/>
            </a:xfrm>
            <a:custGeom>
              <a:avLst/>
              <a:gdLst>
                <a:gd name="connsiteX0" fmla="*/ 9869 w 54072"/>
                <a:gd name="connsiteY0" fmla="*/ 47931 h 54087"/>
                <a:gd name="connsiteX1" fmla="*/ 47922 w 54072"/>
                <a:gd name="connsiteY1" fmla="*/ 44214 h 54087"/>
                <a:gd name="connsiteX2" fmla="*/ 44205 w 54072"/>
                <a:gd name="connsiteY2" fmla="*/ 6156 h 54087"/>
                <a:gd name="connsiteX3" fmla="*/ 6153 w 54072"/>
                <a:gd name="connsiteY3" fmla="*/ 9873 h 54087"/>
                <a:gd name="connsiteX4" fmla="*/ 9869 w 54072"/>
                <a:gd name="connsiteY4" fmla="*/ 47931 h 54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072" h="54087">
                  <a:moveTo>
                    <a:pt x="9869" y="47931"/>
                  </a:moveTo>
                  <a:cubicBezTo>
                    <a:pt x="21402" y="57419"/>
                    <a:pt x="38439" y="55755"/>
                    <a:pt x="47922" y="44214"/>
                  </a:cubicBezTo>
                  <a:cubicBezTo>
                    <a:pt x="57405" y="32672"/>
                    <a:pt x="55737" y="15644"/>
                    <a:pt x="44205" y="6156"/>
                  </a:cubicBezTo>
                  <a:cubicBezTo>
                    <a:pt x="32672" y="-3332"/>
                    <a:pt x="15636" y="-1668"/>
                    <a:pt x="6153" y="9873"/>
                  </a:cubicBezTo>
                  <a:cubicBezTo>
                    <a:pt x="-3330" y="21415"/>
                    <a:pt x="-1667" y="38443"/>
                    <a:pt x="9869" y="47931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10" name="Freihandform 502">
              <a:extLst>
                <a:ext uri="{FF2B5EF4-FFF2-40B4-BE49-F238E27FC236}">
                  <a16:creationId xmlns:a16="http://schemas.microsoft.com/office/drawing/2014/main" id="{B883E2B1-C1D8-4098-B3B7-67F42376CE8A}"/>
                </a:ext>
              </a:extLst>
            </p:cNvPr>
            <p:cNvSpPr/>
            <p:nvPr/>
          </p:nvSpPr>
          <p:spPr>
            <a:xfrm>
              <a:off x="1390157" y="5059363"/>
              <a:ext cx="49726" cy="49733"/>
            </a:xfrm>
            <a:custGeom>
              <a:avLst/>
              <a:gdLst>
                <a:gd name="connsiteX0" fmla="*/ 9065 w 49726"/>
                <a:gd name="connsiteY0" fmla="*/ 44208 h 49733"/>
                <a:gd name="connsiteX1" fmla="*/ 44108 w 49726"/>
                <a:gd name="connsiteY1" fmla="*/ 40668 h 49733"/>
                <a:gd name="connsiteX2" fmla="*/ 40569 w 49726"/>
                <a:gd name="connsiteY2" fmla="*/ 5619 h 49733"/>
                <a:gd name="connsiteX3" fmla="*/ 5525 w 49726"/>
                <a:gd name="connsiteY3" fmla="*/ 9159 h 49733"/>
                <a:gd name="connsiteX4" fmla="*/ 9065 w 49726"/>
                <a:gd name="connsiteY4" fmla="*/ 44208 h 49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26" h="49733">
                  <a:moveTo>
                    <a:pt x="9065" y="44208"/>
                  </a:moveTo>
                  <a:cubicBezTo>
                    <a:pt x="19755" y="52775"/>
                    <a:pt x="35330" y="51218"/>
                    <a:pt x="44108" y="40668"/>
                  </a:cubicBezTo>
                  <a:cubicBezTo>
                    <a:pt x="52816" y="30011"/>
                    <a:pt x="51223" y="14328"/>
                    <a:pt x="40569" y="5619"/>
                  </a:cubicBezTo>
                  <a:cubicBezTo>
                    <a:pt x="29914" y="-3090"/>
                    <a:pt x="14233" y="-1497"/>
                    <a:pt x="5525" y="9159"/>
                  </a:cubicBezTo>
                  <a:cubicBezTo>
                    <a:pt x="-3041" y="19851"/>
                    <a:pt x="-1484" y="35428"/>
                    <a:pt x="9065" y="4420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11" name="Freihandform 503">
              <a:extLst>
                <a:ext uri="{FF2B5EF4-FFF2-40B4-BE49-F238E27FC236}">
                  <a16:creationId xmlns:a16="http://schemas.microsoft.com/office/drawing/2014/main" id="{F8A27B14-4179-4776-BD04-CCF005C913C9}"/>
                </a:ext>
              </a:extLst>
            </p:cNvPr>
            <p:cNvSpPr/>
            <p:nvPr/>
          </p:nvSpPr>
          <p:spPr>
            <a:xfrm>
              <a:off x="1385628" y="4340662"/>
              <a:ext cx="49564" cy="49552"/>
            </a:xfrm>
            <a:custGeom>
              <a:avLst/>
              <a:gdLst>
                <a:gd name="connsiteX0" fmla="*/ 8993 w 49564"/>
                <a:gd name="connsiteY0" fmla="*/ 43882 h 49552"/>
                <a:gd name="connsiteX1" fmla="*/ 43895 w 49564"/>
                <a:gd name="connsiteY1" fmla="*/ 40554 h 49552"/>
                <a:gd name="connsiteX2" fmla="*/ 40567 w 49564"/>
                <a:gd name="connsiteY2" fmla="*/ 5682 h 49552"/>
                <a:gd name="connsiteX3" fmla="*/ 5807 w 49564"/>
                <a:gd name="connsiteY3" fmla="*/ 8833 h 49552"/>
                <a:gd name="connsiteX4" fmla="*/ 8851 w 49564"/>
                <a:gd name="connsiteY4" fmla="*/ 43740 h 49552"/>
                <a:gd name="connsiteX5" fmla="*/ 8993 w 49564"/>
                <a:gd name="connsiteY5" fmla="*/ 43882 h 4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64" h="49552">
                  <a:moveTo>
                    <a:pt x="8993" y="43882"/>
                  </a:moveTo>
                  <a:cubicBezTo>
                    <a:pt x="19541" y="52591"/>
                    <a:pt x="35151" y="51104"/>
                    <a:pt x="43895" y="40554"/>
                  </a:cubicBezTo>
                  <a:cubicBezTo>
                    <a:pt x="52602" y="30004"/>
                    <a:pt x="51116" y="14392"/>
                    <a:pt x="40567" y="5682"/>
                  </a:cubicBezTo>
                  <a:cubicBezTo>
                    <a:pt x="30054" y="-2991"/>
                    <a:pt x="14550" y="-1575"/>
                    <a:pt x="5807" y="8833"/>
                  </a:cubicBezTo>
                  <a:cubicBezTo>
                    <a:pt x="-3007" y="19313"/>
                    <a:pt x="-1626" y="34960"/>
                    <a:pt x="8851" y="43740"/>
                  </a:cubicBezTo>
                  <a:cubicBezTo>
                    <a:pt x="8887" y="43811"/>
                    <a:pt x="8922" y="43846"/>
                    <a:pt x="8993" y="43882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  <p:sp>
          <p:nvSpPr>
            <p:cNvPr id="412" name="Freihandform 504">
              <a:extLst>
                <a:ext uri="{FF2B5EF4-FFF2-40B4-BE49-F238E27FC236}">
                  <a16:creationId xmlns:a16="http://schemas.microsoft.com/office/drawing/2014/main" id="{C8DBB286-B129-4B50-B0EB-9BD30B86E273}"/>
                </a:ext>
              </a:extLst>
            </p:cNvPr>
            <p:cNvSpPr/>
            <p:nvPr/>
          </p:nvSpPr>
          <p:spPr>
            <a:xfrm>
              <a:off x="3354782" y="5217034"/>
              <a:ext cx="19120" cy="19120"/>
            </a:xfrm>
            <a:custGeom>
              <a:avLst/>
              <a:gdLst>
                <a:gd name="connsiteX0" fmla="*/ 3335 w 19120"/>
                <a:gd name="connsiteY0" fmla="*/ 16818 h 19120"/>
                <a:gd name="connsiteX1" fmla="*/ 16821 w 19120"/>
                <a:gd name="connsiteY1" fmla="*/ 15791 h 19120"/>
                <a:gd name="connsiteX2" fmla="*/ 15759 w 19120"/>
                <a:gd name="connsiteY2" fmla="*/ 2303 h 19120"/>
                <a:gd name="connsiteX3" fmla="*/ 2308 w 19120"/>
                <a:gd name="connsiteY3" fmla="*/ 3329 h 19120"/>
                <a:gd name="connsiteX4" fmla="*/ 2273 w 19120"/>
                <a:gd name="connsiteY4" fmla="*/ 3365 h 19120"/>
                <a:gd name="connsiteX5" fmla="*/ 3335 w 19120"/>
                <a:gd name="connsiteY5" fmla="*/ 16818 h 19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20" h="19120">
                  <a:moveTo>
                    <a:pt x="3335" y="16818"/>
                  </a:moveTo>
                  <a:cubicBezTo>
                    <a:pt x="7335" y="20252"/>
                    <a:pt x="13387" y="19791"/>
                    <a:pt x="16821" y="15791"/>
                  </a:cubicBezTo>
                  <a:cubicBezTo>
                    <a:pt x="20255" y="11755"/>
                    <a:pt x="19795" y="5737"/>
                    <a:pt x="15759" y="2303"/>
                  </a:cubicBezTo>
                  <a:cubicBezTo>
                    <a:pt x="11759" y="-1132"/>
                    <a:pt x="5742" y="-671"/>
                    <a:pt x="2308" y="3329"/>
                  </a:cubicBezTo>
                  <a:cubicBezTo>
                    <a:pt x="2273" y="3365"/>
                    <a:pt x="2273" y="3365"/>
                    <a:pt x="2273" y="3365"/>
                  </a:cubicBezTo>
                  <a:cubicBezTo>
                    <a:pt x="-1126" y="7365"/>
                    <a:pt x="-665" y="13384"/>
                    <a:pt x="3335" y="16818"/>
                  </a:cubicBezTo>
                  <a:close/>
                </a:path>
              </a:pathLst>
            </a:custGeom>
            <a:solidFill>
              <a:srgbClr val="FFFFFF">
                <a:alpha val="13000"/>
              </a:srgbClr>
            </a:solidFill>
            <a:ln w="35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463" dirty="0"/>
            </a:p>
          </p:txBody>
        </p:sp>
      </p:grpSp>
      <p:sp>
        <p:nvSpPr>
          <p:cNvPr id="296" name="Oval 27">
            <a:extLst>
              <a:ext uri="{FF2B5EF4-FFF2-40B4-BE49-F238E27FC236}">
                <a16:creationId xmlns:a16="http://schemas.microsoft.com/office/drawing/2014/main" id="{4EDC20C6-EADC-45BB-B0C1-789E236C6508}"/>
              </a:ext>
            </a:extLst>
          </p:cNvPr>
          <p:cNvSpPr/>
          <p:nvPr/>
        </p:nvSpPr>
        <p:spPr bwMode="white">
          <a:xfrm>
            <a:off x="7962854" y="2873989"/>
            <a:ext cx="1501165" cy="1847588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301" name="Group 698">
            <a:extLst>
              <a:ext uri="{FF2B5EF4-FFF2-40B4-BE49-F238E27FC236}">
                <a16:creationId xmlns:a16="http://schemas.microsoft.com/office/drawing/2014/main" id="{E0033774-B82F-4479-A009-F089599F28A4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302" name="AutoShape 697">
              <a:extLst>
                <a:ext uri="{FF2B5EF4-FFF2-40B4-BE49-F238E27FC236}">
                  <a16:creationId xmlns:a16="http://schemas.microsoft.com/office/drawing/2014/main" id="{550DE7EB-9C59-4ED9-98DC-594FDFAE14F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3" name="Oval 699">
              <a:extLst>
                <a:ext uri="{FF2B5EF4-FFF2-40B4-BE49-F238E27FC236}">
                  <a16:creationId xmlns:a16="http://schemas.microsoft.com/office/drawing/2014/main" id="{69317877-87CC-4E5E-BB05-67E029E86A63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4" name="Freeform 700">
              <a:extLst>
                <a:ext uri="{FF2B5EF4-FFF2-40B4-BE49-F238E27FC236}">
                  <a16:creationId xmlns:a16="http://schemas.microsoft.com/office/drawing/2014/main" id="{7F02D8C0-54FE-467E-ABAE-11BF3C7FE870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5" name="Freeform 701">
              <a:extLst>
                <a:ext uri="{FF2B5EF4-FFF2-40B4-BE49-F238E27FC236}">
                  <a16:creationId xmlns:a16="http://schemas.microsoft.com/office/drawing/2014/main" id="{0820C8D4-4E01-49A0-95B3-3EBEFBB386CE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6" name="Freeform 702">
              <a:extLst>
                <a:ext uri="{FF2B5EF4-FFF2-40B4-BE49-F238E27FC236}">
                  <a16:creationId xmlns:a16="http://schemas.microsoft.com/office/drawing/2014/main" id="{66649E4D-CBB9-424F-9BC2-61D10E75741D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309" name="Oval 4">
            <a:extLst>
              <a:ext uri="{FF2B5EF4-FFF2-40B4-BE49-F238E27FC236}">
                <a16:creationId xmlns:a16="http://schemas.microsoft.com/office/drawing/2014/main" id="{CBE8439E-2825-4B7C-A2CC-4E87D6221B36}"/>
              </a:ext>
            </a:extLst>
          </p:cNvPr>
          <p:cNvSpPr/>
          <p:nvPr/>
        </p:nvSpPr>
        <p:spPr bwMode="white">
          <a:xfrm>
            <a:off x="1793649" y="1229706"/>
            <a:ext cx="131682" cy="16207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09954BC-A25A-4B21-88EA-0187166819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1" y="1270000"/>
            <a:ext cx="4270671" cy="1173722"/>
          </a:xfrm>
        </p:spPr>
        <p:txBody>
          <a:bodyPr anchor="b" anchorCtr="0"/>
          <a:lstStyle>
            <a:lvl1pPr>
              <a:defRPr sz="22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00" name="Inhaltsplatzhalter 2">
            <a:extLst>
              <a:ext uri="{FF2B5EF4-FFF2-40B4-BE49-F238E27FC236}">
                <a16:creationId xmlns:a16="http://schemas.microsoft.com/office/drawing/2014/main" id="{84BC5230-1198-4BCD-A631-C52BFCD9CEF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953001" y="2852739"/>
            <a:ext cx="4270671" cy="34559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97" name="Foliennummernplatzhalter 296">
            <a:extLst>
              <a:ext uri="{FF2B5EF4-FFF2-40B4-BE49-F238E27FC236}">
                <a16:creationId xmlns:a16="http://schemas.microsoft.com/office/drawing/2014/main" id="{609C5119-14D0-43B5-85BD-BD9934FD100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08" name="Freihandform: Form 307">
            <a:extLst>
              <a:ext uri="{FF2B5EF4-FFF2-40B4-BE49-F238E27FC236}">
                <a16:creationId xmlns:a16="http://schemas.microsoft.com/office/drawing/2014/main" id="{550A15AD-9FEE-45DD-87DB-A62579679204}"/>
              </a:ext>
            </a:extLst>
          </p:cNvPr>
          <p:cNvSpPr/>
          <p:nvPr/>
        </p:nvSpPr>
        <p:spPr>
          <a:xfrm>
            <a:off x="-14624" y="1301300"/>
            <a:ext cx="4792106" cy="5574701"/>
          </a:xfrm>
          <a:custGeom>
            <a:avLst/>
            <a:gdLst>
              <a:gd name="connsiteX0" fmla="*/ 2133825 w 5897976"/>
              <a:gd name="connsiteY0" fmla="*/ 0 h 5574701"/>
              <a:gd name="connsiteX1" fmla="*/ 5897976 w 5897976"/>
              <a:gd name="connsiteY1" fmla="*/ 3764151 h 5574701"/>
              <a:gd name="connsiteX2" fmla="*/ 5443664 w 5897976"/>
              <a:gd name="connsiteY2" fmla="*/ 5558369 h 5574701"/>
              <a:gd name="connsiteX3" fmla="*/ 5433742 w 5897976"/>
              <a:gd name="connsiteY3" fmla="*/ 5574701 h 5574701"/>
              <a:gd name="connsiteX4" fmla="*/ 0 w 5897976"/>
              <a:gd name="connsiteY4" fmla="*/ 5574701 h 5574701"/>
              <a:gd name="connsiteX5" fmla="*/ 0 w 5897976"/>
              <a:gd name="connsiteY5" fmla="*/ 664733 h 5574701"/>
              <a:gd name="connsiteX6" fmla="*/ 29253 w 5897976"/>
              <a:gd name="connsiteY6" fmla="*/ 642858 h 5574701"/>
              <a:gd name="connsiteX7" fmla="*/ 2133825 w 5897976"/>
              <a:gd name="connsiteY7" fmla="*/ 0 h 55747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7976" h="5574701">
                <a:moveTo>
                  <a:pt x="2133825" y="0"/>
                </a:moveTo>
                <a:cubicBezTo>
                  <a:pt x="4212708" y="0"/>
                  <a:pt x="5897976" y="1685268"/>
                  <a:pt x="5897976" y="3764151"/>
                </a:cubicBezTo>
                <a:cubicBezTo>
                  <a:pt x="5897976" y="4413802"/>
                  <a:pt x="5733399" y="5025014"/>
                  <a:pt x="5443664" y="5558369"/>
                </a:cubicBezTo>
                <a:lnTo>
                  <a:pt x="5433742" y="5574701"/>
                </a:lnTo>
                <a:lnTo>
                  <a:pt x="0" y="5574701"/>
                </a:lnTo>
                <a:lnTo>
                  <a:pt x="0" y="664733"/>
                </a:lnTo>
                <a:lnTo>
                  <a:pt x="29253" y="642858"/>
                </a:lnTo>
                <a:cubicBezTo>
                  <a:pt x="630015" y="236991"/>
                  <a:pt x="1354244" y="0"/>
                  <a:pt x="2133825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9" name="Bildplatzhalter 64">
            <a:extLst>
              <a:ext uri="{FF2B5EF4-FFF2-40B4-BE49-F238E27FC236}">
                <a16:creationId xmlns:a16="http://schemas.microsoft.com/office/drawing/2014/main" id="{DF549776-3AD9-420F-917D-E0610D7500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498177"/>
            <a:ext cx="4603853" cy="5359823"/>
          </a:xfrm>
          <a:custGeom>
            <a:avLst/>
            <a:gdLst>
              <a:gd name="connsiteX0" fmla="*/ 2452011 w 6550979"/>
              <a:gd name="connsiteY0" fmla="*/ 6 h 6196672"/>
              <a:gd name="connsiteX1" fmla="*/ 6550977 w 6550979"/>
              <a:gd name="connsiteY1" fmla="*/ 4087013 h 6196672"/>
              <a:gd name="connsiteX2" fmla="*/ 6099184 w 6550979"/>
              <a:gd name="connsiteY2" fmla="*/ 5953760 h 6196672"/>
              <a:gd name="connsiteX3" fmla="*/ 5963306 w 6550979"/>
              <a:gd name="connsiteY3" fmla="*/ 6196672 h 6196672"/>
              <a:gd name="connsiteX4" fmla="*/ 0 w 6550979"/>
              <a:gd name="connsiteY4" fmla="*/ 6196672 h 6196672"/>
              <a:gd name="connsiteX5" fmla="*/ 0 w 6550979"/>
              <a:gd name="connsiteY5" fmla="*/ 810424 h 6196672"/>
              <a:gd name="connsiteX6" fmla="*/ 2452011 w 6550979"/>
              <a:gd name="connsiteY6" fmla="*/ 6 h 6196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50979" h="6196672">
                <a:moveTo>
                  <a:pt x="2452011" y="6"/>
                </a:moveTo>
                <a:cubicBezTo>
                  <a:pt x="4716114" y="6"/>
                  <a:pt x="6550977" y="1830338"/>
                  <a:pt x="6550977" y="4087013"/>
                </a:cubicBezTo>
                <a:cubicBezTo>
                  <a:pt x="6551646" y="4737609"/>
                  <a:pt x="6396131" y="5377511"/>
                  <a:pt x="6099184" y="5953760"/>
                </a:cubicBezTo>
                <a:lnTo>
                  <a:pt x="5963306" y="6196672"/>
                </a:lnTo>
                <a:lnTo>
                  <a:pt x="0" y="6196672"/>
                </a:lnTo>
                <a:lnTo>
                  <a:pt x="0" y="810424"/>
                </a:lnTo>
                <a:cubicBezTo>
                  <a:pt x="707983" y="282901"/>
                  <a:pt x="1568327" y="-1453"/>
                  <a:pt x="2452011" y="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975" b="0" i="0">
                <a:solidFill>
                  <a:schemeClr val="bg1"/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32053A8-E30D-4A64-A732-ABB906656EA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3407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ote Folie mit Zitat">
    <p:bg bwMode="invGray">
      <p:bgPr>
        <a:solidFill>
          <a:srgbClr val="A014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885AD2DA-94F0-4F22-9325-8E7E417D53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8505293">
            <a:off x="-3239429" y="-3273390"/>
            <a:ext cx="8671199" cy="6546781"/>
          </a:xfrm>
          <a:prstGeom prst="rect">
            <a:avLst/>
          </a:prstGeom>
        </p:spPr>
      </p:pic>
      <p:sp>
        <p:nvSpPr>
          <p:cNvPr id="10" name="Oval 6">
            <a:extLst>
              <a:ext uri="{FF2B5EF4-FFF2-40B4-BE49-F238E27FC236}">
                <a16:creationId xmlns:a16="http://schemas.microsoft.com/office/drawing/2014/main" id="{CF978FFF-DF8B-4FB2-82AC-35AFFDCF5E72}"/>
              </a:ext>
            </a:extLst>
          </p:cNvPr>
          <p:cNvSpPr/>
          <p:nvPr/>
        </p:nvSpPr>
        <p:spPr bwMode="white">
          <a:xfrm>
            <a:off x="4735599" y="432059"/>
            <a:ext cx="1890329" cy="2326559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1" name="Oval 7">
            <a:extLst>
              <a:ext uri="{FF2B5EF4-FFF2-40B4-BE49-F238E27FC236}">
                <a16:creationId xmlns:a16="http://schemas.microsoft.com/office/drawing/2014/main" id="{E0E220EE-4E49-41D1-832A-7F4CBD3B393F}"/>
              </a:ext>
            </a:extLst>
          </p:cNvPr>
          <p:cNvSpPr/>
          <p:nvPr/>
        </p:nvSpPr>
        <p:spPr bwMode="white">
          <a:xfrm>
            <a:off x="657107" y="5192819"/>
            <a:ext cx="755605" cy="929975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2" name="Freihandform 16">
            <a:extLst>
              <a:ext uri="{FF2B5EF4-FFF2-40B4-BE49-F238E27FC236}">
                <a16:creationId xmlns:a16="http://schemas.microsoft.com/office/drawing/2014/main" id="{C1809BF5-31DC-4EBD-82EA-961523FAE184}"/>
              </a:ext>
            </a:extLst>
          </p:cNvPr>
          <p:cNvSpPr/>
          <p:nvPr/>
        </p:nvSpPr>
        <p:spPr bwMode="white">
          <a:xfrm flipH="1">
            <a:off x="5849880" y="0"/>
            <a:ext cx="4056120" cy="551723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9" name="Oval 8">
            <a:extLst>
              <a:ext uri="{FF2B5EF4-FFF2-40B4-BE49-F238E27FC236}">
                <a16:creationId xmlns:a16="http://schemas.microsoft.com/office/drawing/2014/main" id="{CAF6E6FF-54BA-4BEF-A2F0-1D8B0C5F82AF}"/>
              </a:ext>
            </a:extLst>
          </p:cNvPr>
          <p:cNvSpPr/>
          <p:nvPr/>
        </p:nvSpPr>
        <p:spPr bwMode="white">
          <a:xfrm>
            <a:off x="1806395" y="299380"/>
            <a:ext cx="431830" cy="531483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2" name="Group 698">
            <a:extLst>
              <a:ext uri="{FF2B5EF4-FFF2-40B4-BE49-F238E27FC236}">
                <a16:creationId xmlns:a16="http://schemas.microsoft.com/office/drawing/2014/main" id="{A9F885F3-B1A3-4EFE-ADE9-5F3FDB0E43CA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3" name="AutoShape 697">
              <a:extLst>
                <a:ext uri="{FF2B5EF4-FFF2-40B4-BE49-F238E27FC236}">
                  <a16:creationId xmlns:a16="http://schemas.microsoft.com/office/drawing/2014/main" id="{4A8D2984-F4EB-4DA3-8F3C-4AF655911BE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5" name="Oval 699">
              <a:extLst>
                <a:ext uri="{FF2B5EF4-FFF2-40B4-BE49-F238E27FC236}">
                  <a16:creationId xmlns:a16="http://schemas.microsoft.com/office/drawing/2014/main" id="{B6702C42-CB04-49CA-A8D7-26E09EB56315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6" name="Freeform 700">
              <a:extLst>
                <a:ext uri="{FF2B5EF4-FFF2-40B4-BE49-F238E27FC236}">
                  <a16:creationId xmlns:a16="http://schemas.microsoft.com/office/drawing/2014/main" id="{D4C69C51-504A-4027-B841-7E928E4369EB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7" name="Freeform 701">
              <a:extLst>
                <a:ext uri="{FF2B5EF4-FFF2-40B4-BE49-F238E27FC236}">
                  <a16:creationId xmlns:a16="http://schemas.microsoft.com/office/drawing/2014/main" id="{2EB31D95-3AE1-4AB4-86B6-B04ACD19C5EC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8" name="Freeform 702">
              <a:extLst>
                <a:ext uri="{FF2B5EF4-FFF2-40B4-BE49-F238E27FC236}">
                  <a16:creationId xmlns:a16="http://schemas.microsoft.com/office/drawing/2014/main" id="{E7A0915B-44BF-47CA-8E3E-DB57BE0231B2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211310-E35B-4E4B-A3E6-E892C6CD5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C55C9E-8AE3-4A31-ACCC-1B5054478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AD83DC63-A14A-4B53-96C8-38081399C0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3250" y="1847675"/>
            <a:ext cx="6259500" cy="2880000"/>
          </a:xfrm>
        </p:spPr>
        <p:txBody>
          <a:bodyPr/>
          <a:lstStyle>
            <a:lvl1pPr marL="0" indent="0">
              <a:lnSpc>
                <a:spcPts val="3380"/>
              </a:lnSpc>
              <a:spcBef>
                <a:spcPts val="0"/>
              </a:spcBef>
              <a:buFontTx/>
              <a:buNone/>
              <a:defRPr sz="325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Zitat kommt hierhin</a:t>
            </a:r>
          </a:p>
        </p:txBody>
      </p:sp>
    </p:spTree>
    <p:extLst>
      <p:ext uri="{BB962C8B-B14F-4D97-AF65-F5344CB8AC3E}">
        <p14:creationId xmlns:p14="http://schemas.microsoft.com/office/powerpoint/2010/main" val="21943173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ue Folie mit Zitat">
    <p:bg bwMode="invGray"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val 8">
            <a:extLst>
              <a:ext uri="{FF2B5EF4-FFF2-40B4-BE49-F238E27FC236}">
                <a16:creationId xmlns:a16="http://schemas.microsoft.com/office/drawing/2014/main" id="{D6B3350A-266B-43C6-BB71-2E9E9A18B490}"/>
              </a:ext>
            </a:extLst>
          </p:cNvPr>
          <p:cNvSpPr/>
          <p:nvPr/>
        </p:nvSpPr>
        <p:spPr bwMode="white">
          <a:xfrm>
            <a:off x="4737085" y="3149007"/>
            <a:ext cx="431830" cy="531483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C6E32AB-74F9-4380-843B-F45D4F0B2284}"/>
              </a:ext>
            </a:extLst>
          </p:cNvPr>
          <p:cNvSpPr/>
          <p:nvPr/>
        </p:nvSpPr>
        <p:spPr bwMode="white">
          <a:xfrm>
            <a:off x="3672655" y="278359"/>
            <a:ext cx="2106234" cy="2592288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8" name="Freihandform 16">
            <a:extLst>
              <a:ext uri="{FF2B5EF4-FFF2-40B4-BE49-F238E27FC236}">
                <a16:creationId xmlns:a16="http://schemas.microsoft.com/office/drawing/2014/main" id="{6555AEA9-91BE-4B07-BEB1-3F31922694A2}"/>
              </a:ext>
            </a:extLst>
          </p:cNvPr>
          <p:cNvSpPr/>
          <p:nvPr/>
        </p:nvSpPr>
        <p:spPr bwMode="white">
          <a:xfrm>
            <a:off x="0" y="1"/>
            <a:ext cx="4519392" cy="6147385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5B37FC1-688D-4DFA-8CCF-17C5A4E753E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1121073">
            <a:off x="4536435" y="-631990"/>
            <a:ext cx="6612022" cy="7561991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5CA1375D-7A2B-44F8-82D8-4917854BC2E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435077">
            <a:off x="-832677" y="1759145"/>
            <a:ext cx="6612022" cy="7561991"/>
          </a:xfrm>
          <a:prstGeom prst="rect">
            <a:avLst/>
          </a:prstGeom>
        </p:spPr>
      </p:pic>
      <p:sp>
        <p:nvSpPr>
          <p:cNvPr id="11" name="Oval 7">
            <a:extLst>
              <a:ext uri="{FF2B5EF4-FFF2-40B4-BE49-F238E27FC236}">
                <a16:creationId xmlns:a16="http://schemas.microsoft.com/office/drawing/2014/main" id="{851E56C7-EF0B-4103-BD0F-66587882AA74}"/>
              </a:ext>
            </a:extLst>
          </p:cNvPr>
          <p:cNvSpPr/>
          <p:nvPr/>
        </p:nvSpPr>
        <p:spPr bwMode="white">
          <a:xfrm>
            <a:off x="8617066" y="4914432"/>
            <a:ext cx="1016778" cy="1251419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1" name="Group 698">
            <a:extLst>
              <a:ext uri="{FF2B5EF4-FFF2-40B4-BE49-F238E27FC236}">
                <a16:creationId xmlns:a16="http://schemas.microsoft.com/office/drawing/2014/main" id="{F67B1460-E604-4ECE-994D-1A2EA639B4D6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2" name="AutoShape 697">
              <a:extLst>
                <a:ext uri="{FF2B5EF4-FFF2-40B4-BE49-F238E27FC236}">
                  <a16:creationId xmlns:a16="http://schemas.microsoft.com/office/drawing/2014/main" id="{09F6DAC9-6E6F-4FC7-979C-430B411C082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4" name="Oval 699">
              <a:extLst>
                <a:ext uri="{FF2B5EF4-FFF2-40B4-BE49-F238E27FC236}">
                  <a16:creationId xmlns:a16="http://schemas.microsoft.com/office/drawing/2014/main" id="{4639C414-0300-4C6C-A8F1-0622CE050A2A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5" name="Freeform 700">
              <a:extLst>
                <a:ext uri="{FF2B5EF4-FFF2-40B4-BE49-F238E27FC236}">
                  <a16:creationId xmlns:a16="http://schemas.microsoft.com/office/drawing/2014/main" id="{260AE088-D396-4368-87DA-F1E6C9E6F7E3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6" name="Freeform 701">
              <a:extLst>
                <a:ext uri="{FF2B5EF4-FFF2-40B4-BE49-F238E27FC236}">
                  <a16:creationId xmlns:a16="http://schemas.microsoft.com/office/drawing/2014/main" id="{420EFF63-5A7D-4F8C-B9AA-FC0450CF3B49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8" name="Freeform 702">
              <a:extLst>
                <a:ext uri="{FF2B5EF4-FFF2-40B4-BE49-F238E27FC236}">
                  <a16:creationId xmlns:a16="http://schemas.microsoft.com/office/drawing/2014/main" id="{3A39A18F-E51F-4975-80CA-BA7591465956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6B0840-E460-4C2C-9271-B2C243F16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52023D6-1BCD-4615-8CD7-4B7935F2B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20">
            <a:extLst>
              <a:ext uri="{FF2B5EF4-FFF2-40B4-BE49-F238E27FC236}">
                <a16:creationId xmlns:a16="http://schemas.microsoft.com/office/drawing/2014/main" id="{EDBC1D82-8D98-45F0-BB3B-18A19D5464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3250" y="1847675"/>
            <a:ext cx="6259500" cy="2880000"/>
          </a:xfrm>
        </p:spPr>
        <p:txBody>
          <a:bodyPr/>
          <a:lstStyle>
            <a:lvl1pPr marL="0" indent="0">
              <a:lnSpc>
                <a:spcPts val="3380"/>
              </a:lnSpc>
              <a:spcBef>
                <a:spcPts val="0"/>
              </a:spcBef>
              <a:buFontTx/>
              <a:buNone/>
              <a:defRPr sz="325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Zitat kommt hierhin</a:t>
            </a:r>
          </a:p>
        </p:txBody>
      </p:sp>
    </p:spTree>
    <p:extLst>
      <p:ext uri="{BB962C8B-B14F-4D97-AF65-F5344CB8AC3E}">
        <p14:creationId xmlns:p14="http://schemas.microsoft.com/office/powerpoint/2010/main" val="6877623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lie, Roter Kreis mit Text rechts">
    <p:bg bwMode="invGray"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 16">
            <a:extLst>
              <a:ext uri="{FF2B5EF4-FFF2-40B4-BE49-F238E27FC236}">
                <a16:creationId xmlns:a16="http://schemas.microsoft.com/office/drawing/2014/main" id="{BE7D9104-5FB4-452A-839E-CDDED76CB65D}"/>
              </a:ext>
            </a:extLst>
          </p:cNvPr>
          <p:cNvSpPr/>
          <p:nvPr/>
        </p:nvSpPr>
        <p:spPr bwMode="invGray">
          <a:xfrm>
            <a:off x="0" y="0"/>
            <a:ext cx="4442670" cy="6043026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A014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8" name="Oval 6">
            <a:extLst>
              <a:ext uri="{FF2B5EF4-FFF2-40B4-BE49-F238E27FC236}">
                <a16:creationId xmlns:a16="http://schemas.microsoft.com/office/drawing/2014/main" id="{44D32D78-1FC9-4914-990B-D57D1A014025}"/>
              </a:ext>
            </a:extLst>
          </p:cNvPr>
          <p:cNvSpPr/>
          <p:nvPr/>
        </p:nvSpPr>
        <p:spPr bwMode="white">
          <a:xfrm>
            <a:off x="3672655" y="420194"/>
            <a:ext cx="2106234" cy="2592288"/>
          </a:xfrm>
          <a:prstGeom prst="ellipse">
            <a:avLst/>
          </a:prstGeom>
          <a:solidFill>
            <a:srgbClr val="262626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54E0887D-CC72-4BA8-A0BD-3597B93C209A}"/>
              </a:ext>
            </a:extLst>
          </p:cNvPr>
          <p:cNvSpPr/>
          <p:nvPr/>
        </p:nvSpPr>
        <p:spPr>
          <a:xfrm>
            <a:off x="-14624" y="-18000"/>
            <a:ext cx="4638263" cy="6281992"/>
          </a:xfrm>
          <a:custGeom>
            <a:avLst/>
            <a:gdLst>
              <a:gd name="connsiteX0" fmla="*/ 0 w 5708631"/>
              <a:gd name="connsiteY0" fmla="*/ 0 h 6281992"/>
              <a:gd name="connsiteX1" fmla="*/ 4819428 w 5708631"/>
              <a:gd name="connsiteY1" fmla="*/ 0 h 6281992"/>
              <a:gd name="connsiteX2" fmla="*/ 4834099 w 5708631"/>
              <a:gd name="connsiteY2" fmla="*/ 16143 h 6281992"/>
              <a:gd name="connsiteX3" fmla="*/ 5708631 w 5708631"/>
              <a:gd name="connsiteY3" fmla="*/ 2452228 h 6281992"/>
              <a:gd name="connsiteX4" fmla="*/ 1878867 w 5708631"/>
              <a:gd name="connsiteY4" fmla="*/ 6281992 h 6281992"/>
              <a:gd name="connsiteX5" fmla="*/ 53374 w 5708631"/>
              <a:gd name="connsiteY5" fmla="*/ 5819760 h 6281992"/>
              <a:gd name="connsiteX6" fmla="*/ 0 w 5708631"/>
              <a:gd name="connsiteY6" fmla="*/ 5789071 h 6281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08631" h="6281992">
                <a:moveTo>
                  <a:pt x="0" y="0"/>
                </a:moveTo>
                <a:lnTo>
                  <a:pt x="4819428" y="0"/>
                </a:lnTo>
                <a:lnTo>
                  <a:pt x="4834099" y="16143"/>
                </a:lnTo>
                <a:cubicBezTo>
                  <a:pt x="5380438" y="678152"/>
                  <a:pt x="5708631" y="1526863"/>
                  <a:pt x="5708631" y="2452228"/>
                </a:cubicBezTo>
                <a:cubicBezTo>
                  <a:pt x="5708631" y="4567348"/>
                  <a:pt x="3993987" y="6281992"/>
                  <a:pt x="1878867" y="6281992"/>
                </a:cubicBezTo>
                <a:cubicBezTo>
                  <a:pt x="1217892" y="6281992"/>
                  <a:pt x="596026" y="6114547"/>
                  <a:pt x="53374" y="5819760"/>
                </a:cubicBezTo>
                <a:lnTo>
                  <a:pt x="0" y="5789071"/>
                </a:lnTo>
                <a:close/>
              </a:path>
            </a:pathLst>
          </a:custGeom>
          <a:noFill/>
          <a:ln>
            <a:solidFill>
              <a:srgbClr val="FFFFFF">
                <a:alpha val="8117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0" name="Oval 15">
            <a:extLst>
              <a:ext uri="{FF2B5EF4-FFF2-40B4-BE49-F238E27FC236}">
                <a16:creationId xmlns:a16="http://schemas.microsoft.com/office/drawing/2014/main" id="{FFD56C8D-6C6C-4310-8C46-5DB32744D20D}"/>
              </a:ext>
            </a:extLst>
          </p:cNvPr>
          <p:cNvSpPr/>
          <p:nvPr/>
        </p:nvSpPr>
        <p:spPr bwMode="white">
          <a:xfrm>
            <a:off x="3691989" y="5013176"/>
            <a:ext cx="131682" cy="16207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FF58D00-5658-4F32-9DD5-6A98067C5C0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6826313">
            <a:off x="5064109" y="3914767"/>
            <a:ext cx="8137873" cy="6144118"/>
          </a:xfrm>
          <a:prstGeom prst="rect">
            <a:avLst/>
          </a:prstGeom>
        </p:spPr>
      </p:pic>
      <p:sp>
        <p:nvSpPr>
          <p:cNvPr id="13" name="Oval 7">
            <a:extLst>
              <a:ext uri="{FF2B5EF4-FFF2-40B4-BE49-F238E27FC236}">
                <a16:creationId xmlns:a16="http://schemas.microsoft.com/office/drawing/2014/main" id="{0C83544E-FC7E-4C41-AA4D-6677754836E0}"/>
              </a:ext>
            </a:extLst>
          </p:cNvPr>
          <p:cNvSpPr/>
          <p:nvPr/>
        </p:nvSpPr>
        <p:spPr bwMode="white">
          <a:xfrm>
            <a:off x="8617066" y="4914432"/>
            <a:ext cx="1016778" cy="1251419"/>
          </a:xfrm>
          <a:prstGeom prst="ellipse">
            <a:avLst/>
          </a:prstGeom>
          <a:solidFill>
            <a:srgbClr val="262626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6" name="Group 698">
            <a:extLst>
              <a:ext uri="{FF2B5EF4-FFF2-40B4-BE49-F238E27FC236}">
                <a16:creationId xmlns:a16="http://schemas.microsoft.com/office/drawing/2014/main" id="{BB9B3DA4-1FBF-4B7D-8015-FC901F73710B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8" name="AutoShape 697">
              <a:extLst>
                <a:ext uri="{FF2B5EF4-FFF2-40B4-BE49-F238E27FC236}">
                  <a16:creationId xmlns:a16="http://schemas.microsoft.com/office/drawing/2014/main" id="{CA77B960-C92D-469B-853C-3867D47F9ED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9" name="Oval 699">
              <a:extLst>
                <a:ext uri="{FF2B5EF4-FFF2-40B4-BE49-F238E27FC236}">
                  <a16:creationId xmlns:a16="http://schemas.microsoft.com/office/drawing/2014/main" id="{6E2BE485-363F-4855-A6CA-26CCFCDA6D19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700">
              <a:extLst>
                <a:ext uri="{FF2B5EF4-FFF2-40B4-BE49-F238E27FC236}">
                  <a16:creationId xmlns:a16="http://schemas.microsoft.com/office/drawing/2014/main" id="{97F0887C-C939-4C38-A074-572DCB99094D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1">
              <a:extLst>
                <a:ext uri="{FF2B5EF4-FFF2-40B4-BE49-F238E27FC236}">
                  <a16:creationId xmlns:a16="http://schemas.microsoft.com/office/drawing/2014/main" id="{DE2B3A95-ADAB-4FED-8F5A-5BB9B1B11C5D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702">
              <a:extLst>
                <a:ext uri="{FF2B5EF4-FFF2-40B4-BE49-F238E27FC236}">
                  <a16:creationId xmlns:a16="http://schemas.microsoft.com/office/drawing/2014/main" id="{98D5D0A9-E01F-463C-A08B-C3E7552EDA5A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93CED4-DEA2-4E70-A557-48EDC8B862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7DFBA2E-CC62-447D-8426-28DAE14D94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76EB79A4-33AB-42FC-B52C-F7223D329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1" y="1270000"/>
            <a:ext cx="4270671" cy="1173722"/>
          </a:xfrm>
        </p:spPr>
        <p:txBody>
          <a:bodyPr anchor="b" anchorCtr="0"/>
          <a:lstStyle>
            <a:lvl1pPr>
              <a:defRPr sz="22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A7E810FD-D46C-4C55-BED1-285FFA3D63E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953001" y="2852739"/>
            <a:ext cx="4270671" cy="34559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1224777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 descr="Ein Bild, das Spiel, weiß, Mann, Tisch enthält.&#10;&#10;Automatisch generierte Beschreibung">
            <a:extLst>
              <a:ext uri="{FF2B5EF4-FFF2-40B4-BE49-F238E27FC236}">
                <a16:creationId xmlns:a16="http://schemas.microsoft.com/office/drawing/2014/main" id="{1A8DE36F-E337-4683-8CC3-BA4841CC689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A9FD8374-C101-4320-A4FA-DA70D74D092B}"/>
              </a:ext>
            </a:extLst>
          </p:cNvPr>
          <p:cNvSpPr/>
          <p:nvPr/>
        </p:nvSpPr>
        <p:spPr>
          <a:xfrm>
            <a:off x="4964390" y="-18000"/>
            <a:ext cx="4956234" cy="6894000"/>
          </a:xfrm>
          <a:custGeom>
            <a:avLst/>
            <a:gdLst>
              <a:gd name="connsiteX0" fmla="*/ 1840505 w 6099980"/>
              <a:gd name="connsiteY0" fmla="*/ 0 h 6894000"/>
              <a:gd name="connsiteX1" fmla="*/ 6099980 w 6099980"/>
              <a:gd name="connsiteY1" fmla="*/ 0 h 6894000"/>
              <a:gd name="connsiteX2" fmla="*/ 6099980 w 6099980"/>
              <a:gd name="connsiteY2" fmla="*/ 6894000 h 6894000"/>
              <a:gd name="connsiteX3" fmla="*/ 1677388 w 6099980"/>
              <a:gd name="connsiteY3" fmla="*/ 6894000 h 6894000"/>
              <a:gd name="connsiteX4" fmla="*/ 1550682 w 6099980"/>
              <a:gd name="connsiteY4" fmla="*/ 6794429 h 6894000"/>
              <a:gd name="connsiteX5" fmla="*/ 0 w 6099980"/>
              <a:gd name="connsiteY5" fmla="*/ 3506278 h 6894000"/>
              <a:gd name="connsiteX6" fmla="*/ 1711657 w 6099980"/>
              <a:gd name="connsiteY6" fmla="*/ 91626 h 689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9980" h="6894000">
                <a:moveTo>
                  <a:pt x="1840505" y="0"/>
                </a:moveTo>
                <a:lnTo>
                  <a:pt x="6099980" y="0"/>
                </a:lnTo>
                <a:lnTo>
                  <a:pt x="6099980" y="6894000"/>
                </a:lnTo>
                <a:lnTo>
                  <a:pt x="1677388" y="6894000"/>
                </a:lnTo>
                <a:lnTo>
                  <a:pt x="1550682" y="6794429"/>
                </a:lnTo>
                <a:cubicBezTo>
                  <a:pt x="603642" y="6012862"/>
                  <a:pt x="0" y="4830064"/>
                  <a:pt x="0" y="3506278"/>
                </a:cubicBezTo>
                <a:cubicBezTo>
                  <a:pt x="0" y="2108949"/>
                  <a:pt x="672576" y="868708"/>
                  <a:pt x="1711657" y="91626"/>
                </a:cubicBezTo>
                <a:close/>
              </a:path>
            </a:pathLst>
          </a:cu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C350885-EA58-4E93-84C8-2C045011A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EB14860C-29A9-43DE-9A81-87002DA9C2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white">
          <a:xfrm>
            <a:off x="5188906" y="2"/>
            <a:ext cx="4717095" cy="6857999"/>
          </a:xfrm>
          <a:custGeom>
            <a:avLst/>
            <a:gdLst>
              <a:gd name="connsiteX0" fmla="*/ 2058797 w 5805655"/>
              <a:gd name="connsiteY0" fmla="*/ 0 h 6857999"/>
              <a:gd name="connsiteX1" fmla="*/ 5805655 w 5805655"/>
              <a:gd name="connsiteY1" fmla="*/ 0 h 6857999"/>
              <a:gd name="connsiteX2" fmla="*/ 5805655 w 5805655"/>
              <a:gd name="connsiteY2" fmla="*/ 6857999 h 6857999"/>
              <a:gd name="connsiteX3" fmla="*/ 1858903 w 5805655"/>
              <a:gd name="connsiteY3" fmla="*/ 6857999 h 6857999"/>
              <a:gd name="connsiteX4" fmla="*/ 1756895 w 5805655"/>
              <a:gd name="connsiteY4" fmla="*/ 6792603 h 6857999"/>
              <a:gd name="connsiteX5" fmla="*/ 0 w 5805655"/>
              <a:gd name="connsiteY5" fmla="*/ 3488279 h 6857999"/>
              <a:gd name="connsiteX6" fmla="*/ 1857323 w 5805655"/>
              <a:gd name="connsiteY6" fmla="*/ 118284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5655" h="6857999">
                <a:moveTo>
                  <a:pt x="2058797" y="0"/>
                </a:moveTo>
                <a:lnTo>
                  <a:pt x="5805655" y="0"/>
                </a:lnTo>
                <a:lnTo>
                  <a:pt x="5805655" y="6857999"/>
                </a:lnTo>
                <a:lnTo>
                  <a:pt x="1858903" y="6857999"/>
                </a:lnTo>
                <a:lnTo>
                  <a:pt x="1756895" y="6792603"/>
                </a:lnTo>
                <a:cubicBezTo>
                  <a:pt x="696911" y="6076491"/>
                  <a:pt x="0" y="4863771"/>
                  <a:pt x="0" y="3488279"/>
                </a:cubicBezTo>
                <a:cubicBezTo>
                  <a:pt x="0" y="2069802"/>
                  <a:pt x="741149" y="824430"/>
                  <a:pt x="1857323" y="11828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6450" indent="0" algn="ctr">
              <a:buNone/>
              <a:defRPr sz="975" b="0" i="0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grpSp>
        <p:nvGrpSpPr>
          <p:cNvPr id="18" name="Group 698">
            <a:extLst>
              <a:ext uri="{FF2B5EF4-FFF2-40B4-BE49-F238E27FC236}">
                <a16:creationId xmlns:a16="http://schemas.microsoft.com/office/drawing/2014/main" id="{848E8C90-86A2-404C-9BCB-B72E6062264B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685799" y="524210"/>
            <a:ext cx="721585" cy="278730"/>
            <a:chOff x="561" y="2269"/>
            <a:chExt cx="4636" cy="1455"/>
          </a:xfrm>
        </p:grpSpPr>
        <p:sp>
          <p:nvSpPr>
            <p:cNvPr id="19" name="AutoShape 697">
              <a:extLst>
                <a:ext uri="{FF2B5EF4-FFF2-40B4-BE49-F238E27FC236}">
                  <a16:creationId xmlns:a16="http://schemas.microsoft.com/office/drawing/2014/main" id="{3A64E513-88BE-4405-84FB-818F3AA1E02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0" name="Oval 699">
              <a:extLst>
                <a:ext uri="{FF2B5EF4-FFF2-40B4-BE49-F238E27FC236}">
                  <a16:creationId xmlns:a16="http://schemas.microsoft.com/office/drawing/2014/main" id="{9C2A0427-FADA-499E-8A08-3283DA99711F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1" name="Freeform 700">
              <a:extLst>
                <a:ext uri="{FF2B5EF4-FFF2-40B4-BE49-F238E27FC236}">
                  <a16:creationId xmlns:a16="http://schemas.microsoft.com/office/drawing/2014/main" id="{B4306B0A-45F7-44E5-B997-84486021DB53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2" name="Freeform 701">
              <a:extLst>
                <a:ext uri="{FF2B5EF4-FFF2-40B4-BE49-F238E27FC236}">
                  <a16:creationId xmlns:a16="http://schemas.microsoft.com/office/drawing/2014/main" id="{8A8EE63B-B9DE-466C-AEB0-392E214E81E9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3" name="Freeform 702">
              <a:extLst>
                <a:ext uri="{FF2B5EF4-FFF2-40B4-BE49-F238E27FC236}">
                  <a16:creationId xmlns:a16="http://schemas.microsoft.com/office/drawing/2014/main" id="{B48E4AEA-C9EC-4DE3-878A-CEE47879CD23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15" name="Oval 8">
            <a:extLst>
              <a:ext uri="{FF2B5EF4-FFF2-40B4-BE49-F238E27FC236}">
                <a16:creationId xmlns:a16="http://schemas.microsoft.com/office/drawing/2014/main" id="{D4EFB8C4-2EDD-4FDF-980D-31C691D89AA4}"/>
              </a:ext>
            </a:extLst>
          </p:cNvPr>
          <p:cNvSpPr/>
          <p:nvPr/>
        </p:nvSpPr>
        <p:spPr bwMode="white">
          <a:xfrm>
            <a:off x="5772091" y="6229313"/>
            <a:ext cx="129045" cy="158824"/>
          </a:xfrm>
          <a:prstGeom prst="ellipse">
            <a:avLst/>
          </a:prstGeom>
          <a:solidFill>
            <a:srgbClr val="A014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2400F4-5C47-455F-95A2-AAD5E88829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271" y="1271588"/>
            <a:ext cx="4268729" cy="2688140"/>
          </a:xfrm>
        </p:spPr>
        <p:txBody>
          <a:bodyPr anchor="b"/>
          <a:lstStyle>
            <a:lvl1pPr algn="l">
              <a:defRPr sz="3575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B252249-1E9F-4342-AA6B-F97CF43A25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4271" y="4002784"/>
            <a:ext cx="4268729" cy="2163066"/>
          </a:xfrm>
        </p:spPr>
        <p:txBody>
          <a:bodyPr/>
          <a:lstStyle>
            <a:lvl1pPr marL="0" indent="0" algn="l">
              <a:buNone/>
              <a:defRPr sz="1625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B6DECA1-6CCC-447E-8310-2FFCBBD66E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805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962C8C-0A77-4590-BCC1-DE3DB118E6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2DEDF7-E941-451E-99EF-FAB9BC2E6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CD63A2B6-D302-4424-B7DC-A4B28535C31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5AD8AF78-EEB0-4F7E-B287-AFCDE2872E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83475" y="1847676"/>
            <a:ext cx="1053238" cy="1365425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234FF87A-EF12-46B4-8BA2-CE9EB34A18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83475" y="3395489"/>
            <a:ext cx="1053238" cy="136542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7740E28C-E190-456F-A2BC-44EB5B58F2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83475" y="4943301"/>
            <a:ext cx="1053238" cy="136542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444BFE6-4B0F-40C6-9EFC-3B3FA2D5EF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824462" y="2206664"/>
            <a:ext cx="2983282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EB6C0BA1-FF69-45A4-8301-945E026FAB1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824462" y="1847675"/>
            <a:ext cx="2983282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8902480F-23B5-4B7B-8260-81638985545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824462" y="3395488"/>
            <a:ext cx="2983282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17">
            <a:extLst>
              <a:ext uri="{FF2B5EF4-FFF2-40B4-BE49-F238E27FC236}">
                <a16:creationId xmlns:a16="http://schemas.microsoft.com/office/drawing/2014/main" id="{EA558B47-DDDC-44FF-ACC2-CF0B8092411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824462" y="4943300"/>
            <a:ext cx="2983282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Bildplatzhalter 8">
            <a:extLst>
              <a:ext uri="{FF2B5EF4-FFF2-40B4-BE49-F238E27FC236}">
                <a16:creationId xmlns:a16="http://schemas.microsoft.com/office/drawing/2014/main" id="{E414524F-E4B6-4F11-A570-F2ABBDCB783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5099896" y="1847676"/>
            <a:ext cx="1053238" cy="136542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5" name="Bildplatzhalter 8">
            <a:extLst>
              <a:ext uri="{FF2B5EF4-FFF2-40B4-BE49-F238E27FC236}">
                <a16:creationId xmlns:a16="http://schemas.microsoft.com/office/drawing/2014/main" id="{B9B9E10E-9506-4551-840B-1593054A36B3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099896" y="3395489"/>
            <a:ext cx="1053238" cy="136542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6" name="Bildplatzhalter 8">
            <a:extLst>
              <a:ext uri="{FF2B5EF4-FFF2-40B4-BE49-F238E27FC236}">
                <a16:creationId xmlns:a16="http://schemas.microsoft.com/office/drawing/2014/main" id="{B3BEFA79-DD4C-4498-8D94-220A4BC7889B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099896" y="4943301"/>
            <a:ext cx="1053238" cy="136542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8" name="Textplatzhalter 17">
            <a:extLst>
              <a:ext uri="{FF2B5EF4-FFF2-40B4-BE49-F238E27FC236}">
                <a16:creationId xmlns:a16="http://schemas.microsoft.com/office/drawing/2014/main" id="{8ECDE0CF-758A-42D1-8C49-300BD268D55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40173" y="1847675"/>
            <a:ext cx="2983500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17">
            <a:extLst>
              <a:ext uri="{FF2B5EF4-FFF2-40B4-BE49-F238E27FC236}">
                <a16:creationId xmlns:a16="http://schemas.microsoft.com/office/drawing/2014/main" id="{E3E00C84-A89B-47CA-8BD1-FF57B084936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240173" y="3395488"/>
            <a:ext cx="2983500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17">
            <a:extLst>
              <a:ext uri="{FF2B5EF4-FFF2-40B4-BE49-F238E27FC236}">
                <a16:creationId xmlns:a16="http://schemas.microsoft.com/office/drawing/2014/main" id="{853B2C2D-9D04-4E68-8337-82417A41A65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240173" y="4943300"/>
            <a:ext cx="2983500" cy="256224"/>
          </a:xfrm>
        </p:spPr>
        <p:txBody>
          <a:bodyPr/>
          <a:lstStyle>
            <a:lvl1pPr marL="0" indent="0">
              <a:buFontTx/>
              <a:buNone/>
              <a:defRPr sz="975">
                <a:solidFill>
                  <a:schemeClr val="accent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17">
            <a:extLst>
              <a:ext uri="{FF2B5EF4-FFF2-40B4-BE49-F238E27FC236}">
                <a16:creationId xmlns:a16="http://schemas.microsoft.com/office/drawing/2014/main" id="{83698B87-0B74-4F17-BD63-040CC35FEAA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40173" y="2206664"/>
            <a:ext cx="2983500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4" name="Textplatzhalter 17">
            <a:extLst>
              <a:ext uri="{FF2B5EF4-FFF2-40B4-BE49-F238E27FC236}">
                <a16:creationId xmlns:a16="http://schemas.microsoft.com/office/drawing/2014/main" id="{C6A81A53-425F-44D9-904C-F2C95622177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824462" y="3754477"/>
            <a:ext cx="2983282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5" name="Textplatzhalter 17">
            <a:extLst>
              <a:ext uri="{FF2B5EF4-FFF2-40B4-BE49-F238E27FC236}">
                <a16:creationId xmlns:a16="http://schemas.microsoft.com/office/drawing/2014/main" id="{81155469-3AA9-4F3F-9F5C-085A172F351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240173" y="3754477"/>
            <a:ext cx="2983500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platzhalter 17">
            <a:extLst>
              <a:ext uri="{FF2B5EF4-FFF2-40B4-BE49-F238E27FC236}">
                <a16:creationId xmlns:a16="http://schemas.microsoft.com/office/drawing/2014/main" id="{3240F66A-4EBD-4102-A751-ED87F74E55C6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824462" y="5302289"/>
            <a:ext cx="2983282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Textplatzhalter 17">
            <a:extLst>
              <a:ext uri="{FF2B5EF4-FFF2-40B4-BE49-F238E27FC236}">
                <a16:creationId xmlns:a16="http://schemas.microsoft.com/office/drawing/2014/main" id="{553C3DA0-9847-473E-B706-5A933D36D9D7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240173" y="5302289"/>
            <a:ext cx="2983500" cy="1006436"/>
          </a:xfrm>
        </p:spPr>
        <p:txBody>
          <a:bodyPr/>
          <a:lstStyle>
            <a:lvl1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1pPr>
            <a:lvl2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2pPr>
            <a:lvl3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3pPr>
            <a:lvl4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4pPr>
            <a:lvl5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5pPr>
            <a:lvl6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6pPr>
            <a:lvl7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7pPr>
            <a:lvl8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8pPr>
            <a:lvl9pPr marL="0" indent="-2925">
              <a:lnSpc>
                <a:spcPts val="1186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DC82F9CB-54FE-4A52-9529-F4053689C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11827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6C1AAD9-AE74-4C3B-AACA-FE48D2D8D976}"/>
              </a:ext>
            </a:extLst>
          </p:cNvPr>
          <p:cNvSpPr/>
          <p:nvPr/>
        </p:nvSpPr>
        <p:spPr>
          <a:xfrm>
            <a:off x="0" y="1268414"/>
            <a:ext cx="9906000" cy="55895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0BA9196-E000-4646-8FEF-01CFA2A2E4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0CA16C-4730-46B0-B3D0-C9552FFA4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88E7B23F-FCF9-4BCB-9F9C-F2C829441AE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3143454-72C5-4715-B379-BE01F888B99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683617" y="1847676"/>
            <a:ext cx="1094650" cy="1365424"/>
          </a:xfrm>
          <a:solidFill>
            <a:schemeClr val="bg1"/>
          </a:solidFill>
        </p:spPr>
        <p:txBody>
          <a:bodyPr anchor="ctr"/>
          <a:lstStyle>
            <a:lvl1pPr marL="0" indent="0" algn="ctr">
              <a:buFontTx/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Bildplatzhalter 12">
            <a:extLst>
              <a:ext uri="{FF2B5EF4-FFF2-40B4-BE49-F238E27FC236}">
                <a16:creationId xmlns:a16="http://schemas.microsoft.com/office/drawing/2014/main" id="{7889D490-FC3F-4BD5-B54A-E8813763585D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924518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5" name="Bildplatzhalter 12">
            <a:extLst>
              <a:ext uri="{FF2B5EF4-FFF2-40B4-BE49-F238E27FC236}">
                <a16:creationId xmlns:a16="http://schemas.microsoft.com/office/drawing/2014/main" id="{0B94772A-5035-4D7E-80E9-BF8FA7AAEB7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683619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6" name="Bildplatzhalter 12">
            <a:extLst>
              <a:ext uri="{FF2B5EF4-FFF2-40B4-BE49-F238E27FC236}">
                <a16:creationId xmlns:a16="http://schemas.microsoft.com/office/drawing/2014/main" id="{A61F6397-0B38-4AE4-94AB-850EFF4DAD7C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83619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7" name="Bildplatzhalter 12">
            <a:extLst>
              <a:ext uri="{FF2B5EF4-FFF2-40B4-BE49-F238E27FC236}">
                <a16:creationId xmlns:a16="http://schemas.microsoft.com/office/drawing/2014/main" id="{467862B5-CB73-49EE-941C-BBCDFD98C702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3165418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8" name="Bildplatzhalter 12">
            <a:extLst>
              <a:ext uri="{FF2B5EF4-FFF2-40B4-BE49-F238E27FC236}">
                <a16:creationId xmlns:a16="http://schemas.microsoft.com/office/drawing/2014/main" id="{E699EAD5-8A66-4A8A-BC56-397E0DF2E794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406319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9" name="Bildplatzhalter 12">
            <a:extLst>
              <a:ext uri="{FF2B5EF4-FFF2-40B4-BE49-F238E27FC236}">
                <a16:creationId xmlns:a16="http://schemas.microsoft.com/office/drawing/2014/main" id="{4612635C-7C30-4838-A8F2-5BA16A4D7AFA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924520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0" name="Bildplatzhalter 12">
            <a:extLst>
              <a:ext uri="{FF2B5EF4-FFF2-40B4-BE49-F238E27FC236}">
                <a16:creationId xmlns:a16="http://schemas.microsoft.com/office/drawing/2014/main" id="{D0F967A8-6AA4-45DB-8C24-F802F95B8B9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924520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1" name="Bildplatzhalter 12">
            <a:extLst>
              <a:ext uri="{FF2B5EF4-FFF2-40B4-BE49-F238E27FC236}">
                <a16:creationId xmlns:a16="http://schemas.microsoft.com/office/drawing/2014/main" id="{6F3B4A55-C49B-41D5-8035-53359E24710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3165421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2" name="Bildplatzhalter 12">
            <a:extLst>
              <a:ext uri="{FF2B5EF4-FFF2-40B4-BE49-F238E27FC236}">
                <a16:creationId xmlns:a16="http://schemas.microsoft.com/office/drawing/2014/main" id="{C81C8153-49DF-447A-BCC3-50D6678A8790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3165421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3" name="Bildplatzhalter 12">
            <a:extLst>
              <a:ext uri="{FF2B5EF4-FFF2-40B4-BE49-F238E27FC236}">
                <a16:creationId xmlns:a16="http://schemas.microsoft.com/office/drawing/2014/main" id="{B978C6D9-CD25-4DDA-A6E5-59A48B129676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5647221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4" name="Bildplatzhalter 12">
            <a:extLst>
              <a:ext uri="{FF2B5EF4-FFF2-40B4-BE49-F238E27FC236}">
                <a16:creationId xmlns:a16="http://schemas.microsoft.com/office/drawing/2014/main" id="{211DCBE5-43E8-4C40-8C52-329F19E60A35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6888122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5" name="Bildplatzhalter 12">
            <a:extLst>
              <a:ext uri="{FF2B5EF4-FFF2-40B4-BE49-F238E27FC236}">
                <a16:creationId xmlns:a16="http://schemas.microsoft.com/office/drawing/2014/main" id="{54C5E460-7FA9-4A50-A113-AB100373B326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129023" y="1847676"/>
            <a:ext cx="1094650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6" name="Bildplatzhalter 12">
            <a:extLst>
              <a:ext uri="{FF2B5EF4-FFF2-40B4-BE49-F238E27FC236}">
                <a16:creationId xmlns:a16="http://schemas.microsoft.com/office/drawing/2014/main" id="{49094B63-29B7-4257-8A51-B8E2D480A5F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406322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DB49D4BE-47D6-4E3A-9B29-DE1C2D74F12C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5647223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196D19FF-6F8D-470B-8C54-F2A3368935FD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6888124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E6B725B-ECDA-4886-B0A0-241C2F1D5AA3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29025" y="3395489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03A0C878-2A28-49A5-ADEE-CE5BDE751882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4406322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31" name="Bildplatzhalter 12">
            <a:extLst>
              <a:ext uri="{FF2B5EF4-FFF2-40B4-BE49-F238E27FC236}">
                <a16:creationId xmlns:a16="http://schemas.microsoft.com/office/drawing/2014/main" id="{1C8BB93D-4460-487D-852B-68BBA43D0B49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5647223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32" name="Bildplatzhalter 12">
            <a:extLst>
              <a:ext uri="{FF2B5EF4-FFF2-40B4-BE49-F238E27FC236}">
                <a16:creationId xmlns:a16="http://schemas.microsoft.com/office/drawing/2014/main" id="{29CF6D19-DEBE-4383-A58D-4ECCCFCF79AD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6888124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33" name="Bildplatzhalter 12">
            <a:extLst>
              <a:ext uri="{FF2B5EF4-FFF2-40B4-BE49-F238E27FC236}">
                <a16:creationId xmlns:a16="http://schemas.microsoft.com/office/drawing/2014/main" id="{7F01AE66-E818-4446-B282-5B27E2DD13D2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29025" y="4943301"/>
            <a:ext cx="1094651" cy="1365424"/>
          </a:xfrm>
          <a:solidFill>
            <a:schemeClr val="bg1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2C5C239-28B0-4F99-9BFD-195922226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7261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flistung mit 4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E80D9E6-84F3-45F2-A1F9-64ECE46E52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69507E-D98B-4C03-86F7-E146F194B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4E7ED365-7906-4208-A1B4-92AFFFCC194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774D493-4375-45E8-A8AF-A7BEB9C6CC4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83618" y="1847675"/>
            <a:ext cx="1937612" cy="1521176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3366F46D-576B-4375-A72E-2C3E3FFAC7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286062" y="1847675"/>
            <a:ext cx="1937612" cy="152117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B2D612A5-7CE7-41DF-9594-CD0BC38FD59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84432" y="1847675"/>
            <a:ext cx="1937612" cy="152117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65B7D9CA-0415-4C51-8476-8F85A2A2387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085247" y="1847675"/>
            <a:ext cx="1937612" cy="152117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cxnSp>
        <p:nvCxnSpPr>
          <p:cNvPr id="13" name="Gerade Verbindung 40">
            <a:extLst>
              <a:ext uri="{FF2B5EF4-FFF2-40B4-BE49-F238E27FC236}">
                <a16:creationId xmlns:a16="http://schemas.microsoft.com/office/drawing/2014/main" id="{66902353-E666-45CF-8F84-8021BB51F9FE}"/>
              </a:ext>
            </a:extLst>
          </p:cNvPr>
          <p:cNvCxnSpPr/>
          <p:nvPr/>
        </p:nvCxnSpPr>
        <p:spPr>
          <a:xfrm>
            <a:off x="2752830" y="1847675"/>
            <a:ext cx="0" cy="446105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26">
            <a:extLst>
              <a:ext uri="{FF2B5EF4-FFF2-40B4-BE49-F238E27FC236}">
                <a16:creationId xmlns:a16="http://schemas.microsoft.com/office/drawing/2014/main" id="{B2398DC8-A55D-4533-BA55-F20CAEEC6DE3}"/>
              </a:ext>
            </a:extLst>
          </p:cNvPr>
          <p:cNvCxnSpPr/>
          <p:nvPr/>
        </p:nvCxnSpPr>
        <p:spPr>
          <a:xfrm>
            <a:off x="4953645" y="1847675"/>
            <a:ext cx="0" cy="446105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0">
            <a:extLst>
              <a:ext uri="{FF2B5EF4-FFF2-40B4-BE49-F238E27FC236}">
                <a16:creationId xmlns:a16="http://schemas.microsoft.com/office/drawing/2014/main" id="{3AE1C16D-D90B-427B-AC67-77DE0DD45E5F}"/>
              </a:ext>
            </a:extLst>
          </p:cNvPr>
          <p:cNvCxnSpPr/>
          <p:nvPr/>
        </p:nvCxnSpPr>
        <p:spPr>
          <a:xfrm>
            <a:off x="7154460" y="1847675"/>
            <a:ext cx="0" cy="446105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17">
            <a:extLst>
              <a:ext uri="{FF2B5EF4-FFF2-40B4-BE49-F238E27FC236}">
                <a16:creationId xmlns:a16="http://schemas.microsoft.com/office/drawing/2014/main" id="{AB70F550-346F-4100-A802-9782DAC3A2E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83618" y="4266793"/>
            <a:ext cx="1937612" cy="2041932"/>
          </a:xfrm>
        </p:spPr>
        <p:txBody>
          <a:bodyPr/>
          <a:lstStyle>
            <a:lvl1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1pPr>
            <a:lvl2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2pPr>
            <a:lvl3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3pPr>
            <a:lvl4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4pPr>
            <a:lvl5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5pPr>
            <a:lvl6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6pPr>
            <a:lvl7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7pPr>
            <a:lvl8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8pPr>
            <a:lvl9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A00C4637-29B3-4B35-B1A2-046C24BE24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3618" y="3510493"/>
            <a:ext cx="1937612" cy="647263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17">
            <a:extLst>
              <a:ext uri="{FF2B5EF4-FFF2-40B4-BE49-F238E27FC236}">
                <a16:creationId xmlns:a16="http://schemas.microsoft.com/office/drawing/2014/main" id="{B35D7BA1-B6C0-4CC4-A703-C59143A6952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884432" y="3510493"/>
            <a:ext cx="1937612" cy="647263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17">
            <a:extLst>
              <a:ext uri="{FF2B5EF4-FFF2-40B4-BE49-F238E27FC236}">
                <a16:creationId xmlns:a16="http://schemas.microsoft.com/office/drawing/2014/main" id="{D33293CA-22BB-4241-A491-DA0B4621F63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5085247" y="3510493"/>
            <a:ext cx="1937612" cy="647263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17">
            <a:extLst>
              <a:ext uri="{FF2B5EF4-FFF2-40B4-BE49-F238E27FC236}">
                <a16:creationId xmlns:a16="http://schemas.microsoft.com/office/drawing/2014/main" id="{B4F368CD-3D21-492E-AB5B-5815616A769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7286062" y="3510493"/>
            <a:ext cx="1937612" cy="647263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Textplatzhalter 17">
            <a:extLst>
              <a:ext uri="{FF2B5EF4-FFF2-40B4-BE49-F238E27FC236}">
                <a16:creationId xmlns:a16="http://schemas.microsoft.com/office/drawing/2014/main" id="{6AA3940D-9044-4CA4-92AD-908FDF9ADF5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884432" y="4266793"/>
            <a:ext cx="1937612" cy="2041932"/>
          </a:xfrm>
        </p:spPr>
        <p:txBody>
          <a:bodyPr/>
          <a:lstStyle>
            <a:lvl1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1pPr>
            <a:lvl2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2pPr>
            <a:lvl3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3pPr>
            <a:lvl4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4pPr>
            <a:lvl5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5pPr>
            <a:lvl6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6pPr>
            <a:lvl7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7pPr>
            <a:lvl8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8pPr>
            <a:lvl9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17">
            <a:extLst>
              <a:ext uri="{FF2B5EF4-FFF2-40B4-BE49-F238E27FC236}">
                <a16:creationId xmlns:a16="http://schemas.microsoft.com/office/drawing/2014/main" id="{BEE8403D-AD27-4F87-8989-612B2272C6B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085247" y="4266793"/>
            <a:ext cx="1937612" cy="2041932"/>
          </a:xfrm>
        </p:spPr>
        <p:txBody>
          <a:bodyPr/>
          <a:lstStyle>
            <a:lvl1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1pPr>
            <a:lvl2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2pPr>
            <a:lvl3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3pPr>
            <a:lvl4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4pPr>
            <a:lvl5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5pPr>
            <a:lvl6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6pPr>
            <a:lvl7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7pPr>
            <a:lvl8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8pPr>
            <a:lvl9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17">
            <a:extLst>
              <a:ext uri="{FF2B5EF4-FFF2-40B4-BE49-F238E27FC236}">
                <a16:creationId xmlns:a16="http://schemas.microsoft.com/office/drawing/2014/main" id="{054A0AB3-EA50-4287-B2AD-0AA3B357899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286062" y="4266793"/>
            <a:ext cx="1937612" cy="2041932"/>
          </a:xfrm>
        </p:spPr>
        <p:txBody>
          <a:bodyPr/>
          <a:lstStyle>
            <a:lvl1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1pPr>
            <a:lvl2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2pPr>
            <a:lvl3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3pPr>
            <a:lvl4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4pPr>
            <a:lvl5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5pPr>
            <a:lvl6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6pPr>
            <a:lvl7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7pPr>
            <a:lvl8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8pPr>
            <a:lvl9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53B9A66-806D-4341-90D4-8B89B8751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61903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zess mit 3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E02147E-1285-4992-B0F5-565CE58EB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Richtungspfeil 14">
            <a:extLst>
              <a:ext uri="{FF2B5EF4-FFF2-40B4-BE49-F238E27FC236}">
                <a16:creationId xmlns:a16="http://schemas.microsoft.com/office/drawing/2014/main" id="{AA9E418C-322C-446D-9186-2DA0BB8D6F85}"/>
              </a:ext>
            </a:extLst>
          </p:cNvPr>
          <p:cNvSpPr/>
          <p:nvPr/>
        </p:nvSpPr>
        <p:spPr>
          <a:xfrm>
            <a:off x="0" y="1267256"/>
            <a:ext cx="6174400" cy="5590745"/>
          </a:xfrm>
          <a:prstGeom prst="homePlate">
            <a:avLst>
              <a:gd name="adj" fmla="val 22256"/>
            </a:avLst>
          </a:prstGeom>
          <a:solidFill>
            <a:schemeClr val="bg1">
              <a:lumMod val="8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F0A23D26-A11B-4E20-BE1F-10810C022B8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57409F6-7AF2-4E40-B811-857AFCEF8F2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83617" y="4189001"/>
            <a:ext cx="1688659" cy="21197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37AA4725-F302-46D1-AADB-62A3C520D49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83617" y="1847675"/>
            <a:ext cx="1688659" cy="21197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42A6C9E-5542-4A45-B1BA-D99E1C9A3F8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099895" y="3059114"/>
            <a:ext cx="1688659" cy="211972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5" name="Textplatzhalter 17">
            <a:extLst>
              <a:ext uri="{FF2B5EF4-FFF2-40B4-BE49-F238E27FC236}">
                <a16:creationId xmlns:a16="http://schemas.microsoft.com/office/drawing/2014/main" id="{B6B34D05-CB67-4CBE-992F-5DE6EF4D157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927548" y="3787848"/>
            <a:ext cx="2296125" cy="1390990"/>
          </a:xfrm>
        </p:spPr>
        <p:txBody>
          <a:bodyPr vert="horz" lIns="0" tIns="0" rIns="0" bIns="0" rtlCol="0">
            <a:noAutofit/>
          </a:bodyPr>
          <a:lstStyle>
            <a:lvl1pPr>
              <a:defRPr lang="de-DE" sz="975" dirty="0" smtClean="0"/>
            </a:lvl1pPr>
            <a:lvl2pPr>
              <a:defRPr lang="de-DE" sz="975" dirty="0" smtClean="0"/>
            </a:lvl2pPr>
            <a:lvl3pPr>
              <a:defRPr lang="de-DE" sz="975" dirty="0" smtClean="0"/>
            </a:lvl3pPr>
            <a:lvl4pPr>
              <a:defRPr lang="de-DE" sz="975" dirty="0" smtClean="0"/>
            </a:lvl4pPr>
            <a:lvl5pPr>
              <a:defRPr lang="de-DE" sz="975" dirty="0" smtClean="0"/>
            </a:lvl5pPr>
            <a:lvl6pPr>
              <a:defRPr lang="de-DE" sz="975" dirty="0" smtClean="0"/>
            </a:lvl6pPr>
            <a:lvl7pPr>
              <a:defRPr lang="de-DE" sz="975" dirty="0" smtClean="0"/>
            </a:lvl7pPr>
            <a:lvl8pPr>
              <a:defRPr lang="de-DE" sz="975" dirty="0" smtClean="0"/>
            </a:lvl8pPr>
            <a:lvl9pPr>
              <a:defRPr lang="de-DE" sz="975" dirty="0"/>
            </a:lvl9pPr>
          </a:lstStyle>
          <a:p>
            <a:pPr lvl="0">
              <a:lnSpc>
                <a:spcPts val="1511"/>
              </a:lnSpc>
              <a:spcBef>
                <a:spcPts val="0"/>
              </a:spcBef>
            </a:pPr>
            <a:r>
              <a:rPr lang="de-DE"/>
              <a:t>Mastertextformat bearbeiten</a:t>
            </a:r>
          </a:p>
        </p:txBody>
      </p:sp>
      <p:sp>
        <p:nvSpPr>
          <p:cNvPr id="16" name="Textplatzhalter 17">
            <a:extLst>
              <a:ext uri="{FF2B5EF4-FFF2-40B4-BE49-F238E27FC236}">
                <a16:creationId xmlns:a16="http://schemas.microsoft.com/office/drawing/2014/main" id="{3D7DC25C-FC98-452B-91B4-B5EDDBF3ECB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927548" y="3059114"/>
            <a:ext cx="2296125" cy="728734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29FC3C91-54BF-43EE-823C-124E5BBDE3C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511171" y="2576409"/>
            <a:ext cx="2296574" cy="1390990"/>
          </a:xfrm>
        </p:spPr>
        <p:txBody>
          <a:bodyPr/>
          <a:lstStyle>
            <a:lvl1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1pPr>
            <a:lvl2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2pPr>
            <a:lvl3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3pPr>
            <a:lvl4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4pPr>
            <a:lvl5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5pPr>
            <a:lvl6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6pPr>
            <a:lvl7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7pPr>
            <a:lvl8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8pPr>
            <a:lvl9pPr marL="0" indent="0">
              <a:lnSpc>
                <a:spcPts val="1511"/>
              </a:lnSpc>
              <a:spcBef>
                <a:spcPts val="0"/>
              </a:spcBef>
              <a:buFontTx/>
              <a:buNone/>
              <a:defRPr sz="9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7">
            <a:extLst>
              <a:ext uri="{FF2B5EF4-FFF2-40B4-BE49-F238E27FC236}">
                <a16:creationId xmlns:a16="http://schemas.microsoft.com/office/drawing/2014/main" id="{FDCB4AA8-A8D4-45CD-AD46-D0FEEA37516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511171" y="1847675"/>
            <a:ext cx="2296574" cy="728734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9556296B-02E2-4648-A1CD-A0EC9BB03DD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511171" y="4917735"/>
            <a:ext cx="2296574" cy="1390990"/>
          </a:xfrm>
        </p:spPr>
        <p:txBody>
          <a:bodyPr vert="horz" lIns="0" tIns="0" rIns="0" bIns="0" rtlCol="0">
            <a:noAutofit/>
          </a:bodyPr>
          <a:lstStyle>
            <a:lvl1pPr>
              <a:defRPr lang="de-DE" sz="975" dirty="0" smtClean="0"/>
            </a:lvl1pPr>
            <a:lvl2pPr>
              <a:defRPr lang="de-DE" sz="975" dirty="0" smtClean="0"/>
            </a:lvl2pPr>
            <a:lvl3pPr>
              <a:defRPr lang="de-DE" sz="975" dirty="0" smtClean="0"/>
            </a:lvl3pPr>
            <a:lvl4pPr>
              <a:defRPr lang="de-DE" sz="975" dirty="0" smtClean="0"/>
            </a:lvl4pPr>
            <a:lvl5pPr>
              <a:defRPr lang="de-DE" sz="975" dirty="0" smtClean="0"/>
            </a:lvl5pPr>
            <a:lvl6pPr>
              <a:defRPr lang="de-DE" sz="975" dirty="0" smtClean="0"/>
            </a:lvl6pPr>
            <a:lvl7pPr>
              <a:defRPr lang="de-DE" sz="975" dirty="0" smtClean="0"/>
            </a:lvl7pPr>
            <a:lvl8pPr>
              <a:defRPr lang="de-DE" sz="975" dirty="0" smtClean="0"/>
            </a:lvl8pPr>
            <a:lvl9pPr>
              <a:defRPr lang="de-DE" sz="975" dirty="0"/>
            </a:lvl9pPr>
          </a:lstStyle>
          <a:p>
            <a:pPr lvl="0">
              <a:lnSpc>
                <a:spcPts val="1511"/>
              </a:lnSpc>
              <a:spcBef>
                <a:spcPts val="0"/>
              </a:spcBef>
            </a:pPr>
            <a:r>
              <a:rPr lang="de-DE"/>
              <a:t>Mastertextformat bearbeiten</a:t>
            </a:r>
          </a:p>
        </p:txBody>
      </p:sp>
      <p:sp>
        <p:nvSpPr>
          <p:cNvPr id="22" name="Textplatzhalter 17">
            <a:extLst>
              <a:ext uri="{FF2B5EF4-FFF2-40B4-BE49-F238E27FC236}">
                <a16:creationId xmlns:a16="http://schemas.microsoft.com/office/drawing/2014/main" id="{C419897A-7E04-4F85-BE96-A51341336EE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511171" y="4189001"/>
            <a:ext cx="2296574" cy="728734"/>
          </a:xfrm>
        </p:spPr>
        <p:txBody>
          <a:bodyPr/>
          <a:lstStyle>
            <a:lvl1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1pPr>
            <a:lvl2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2pPr>
            <a:lvl3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3pPr>
            <a:lvl4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4pPr>
            <a:lvl5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5pPr>
            <a:lvl6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6pPr>
            <a:lvl7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7pPr>
            <a:lvl8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8pPr>
            <a:lvl9pPr marL="5850" indent="0">
              <a:lnSpc>
                <a:spcPts val="1593"/>
              </a:lnSpc>
              <a:spcBef>
                <a:spcPts val="0"/>
              </a:spcBef>
              <a:buFontTx/>
              <a:buNone/>
              <a:defRPr sz="1300">
                <a:solidFill>
                  <a:srgbClr val="A0144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DB8E1D2-2D80-4694-8E1D-1356A61A6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8D86A69-AFA2-4271-8E18-6878118E63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87305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C48AD03E-0E6F-4E37-8272-741DF1C5CEF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7948201" y="4000784"/>
            <a:ext cx="1957800" cy="2857217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F5132E7C-AAE5-4E2B-822E-081A52B0FB3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7948201" y="400078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8AEEC3-52FE-40DE-B13A-F41D420CC7D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0" y="4000782"/>
            <a:ext cx="1957800" cy="285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3" name="Textplatzhalter 17">
            <a:extLst>
              <a:ext uri="{FF2B5EF4-FFF2-40B4-BE49-F238E27FC236}">
                <a16:creationId xmlns:a16="http://schemas.microsoft.com/office/drawing/2014/main" id="{7B069CCF-828C-4A5D-9222-7AB27553D7C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0" y="400078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7CD51D8D-241D-49B9-A365-3C61F7F3089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036FDA6-1EF1-47BB-8236-BEF60F977528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0" y="1268413"/>
            <a:ext cx="1957800" cy="269637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1" name="Textplatzhalter 17">
            <a:extLst>
              <a:ext uri="{FF2B5EF4-FFF2-40B4-BE49-F238E27FC236}">
                <a16:creationId xmlns:a16="http://schemas.microsoft.com/office/drawing/2014/main" id="{D5806164-94B7-4C56-A5E3-B9510157005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0" y="126841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9">
            <a:extLst>
              <a:ext uri="{FF2B5EF4-FFF2-40B4-BE49-F238E27FC236}">
                <a16:creationId xmlns:a16="http://schemas.microsoft.com/office/drawing/2014/main" id="{0051AB06-D0BD-4C13-BEB1-BEB26A564F36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7948201" y="1268413"/>
            <a:ext cx="1957800" cy="269637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17" name="Textplatzhalter 17">
            <a:extLst>
              <a:ext uri="{FF2B5EF4-FFF2-40B4-BE49-F238E27FC236}">
                <a16:creationId xmlns:a16="http://schemas.microsoft.com/office/drawing/2014/main" id="{900FE352-540E-41FE-A120-FE791D4E0ADD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7948201" y="126841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9">
            <a:extLst>
              <a:ext uri="{FF2B5EF4-FFF2-40B4-BE49-F238E27FC236}">
                <a16:creationId xmlns:a16="http://schemas.microsoft.com/office/drawing/2014/main" id="{DBEF3D0E-CC19-42AA-81AE-D38C9B78F406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961150" y="4000784"/>
            <a:ext cx="1957800" cy="2857217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id="{F9C9032E-86E5-4012-BE34-2EDF158EEC8F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961150" y="4000783"/>
            <a:ext cx="1957800" cy="459234"/>
          </a:xfrm>
          <a:solidFill>
            <a:schemeClr val="tx1">
              <a:alpha val="59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Bildplatzhalter 9">
            <a:extLst>
              <a:ext uri="{FF2B5EF4-FFF2-40B4-BE49-F238E27FC236}">
                <a16:creationId xmlns:a16="http://schemas.microsoft.com/office/drawing/2014/main" id="{2F07CD8D-5767-442C-8D06-8A7F39CA3CAF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961150" y="1268413"/>
            <a:ext cx="1957800" cy="269637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3" name="Textplatzhalter 17">
            <a:extLst>
              <a:ext uri="{FF2B5EF4-FFF2-40B4-BE49-F238E27FC236}">
                <a16:creationId xmlns:a16="http://schemas.microsoft.com/office/drawing/2014/main" id="{D20A21F8-23D4-402F-8059-E65D049D089D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961150" y="126841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Bildplatzhalter 9">
            <a:extLst>
              <a:ext uri="{FF2B5EF4-FFF2-40B4-BE49-F238E27FC236}">
                <a16:creationId xmlns:a16="http://schemas.microsoft.com/office/drawing/2014/main" id="{AC63BC77-7D38-4353-A053-2EAC01258A6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3974100" y="4000784"/>
            <a:ext cx="1957800" cy="2857217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5" name="Textplatzhalter 17">
            <a:extLst>
              <a:ext uri="{FF2B5EF4-FFF2-40B4-BE49-F238E27FC236}">
                <a16:creationId xmlns:a16="http://schemas.microsoft.com/office/drawing/2014/main" id="{21824CEA-BA78-42A6-9169-ACB8A959F668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974100" y="400078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Bildplatzhalter 9">
            <a:extLst>
              <a:ext uri="{FF2B5EF4-FFF2-40B4-BE49-F238E27FC236}">
                <a16:creationId xmlns:a16="http://schemas.microsoft.com/office/drawing/2014/main" id="{71BEAA49-038B-4925-B8A8-D38186FB67C7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3974100" y="1268413"/>
            <a:ext cx="1957800" cy="269637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 dirty="0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7" name="Textplatzhalter 17">
            <a:extLst>
              <a:ext uri="{FF2B5EF4-FFF2-40B4-BE49-F238E27FC236}">
                <a16:creationId xmlns:a16="http://schemas.microsoft.com/office/drawing/2014/main" id="{F18DFDB1-4D5C-4F6B-A26E-CFD7EEBDD1D9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3974100" y="126841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Bildplatzhalter 9">
            <a:extLst>
              <a:ext uri="{FF2B5EF4-FFF2-40B4-BE49-F238E27FC236}">
                <a16:creationId xmlns:a16="http://schemas.microsoft.com/office/drawing/2014/main" id="{2D7C0C01-C1E7-41A3-BED1-223223B4F783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987050" y="4000784"/>
            <a:ext cx="1957800" cy="2857217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29" name="Textplatzhalter 17">
            <a:extLst>
              <a:ext uri="{FF2B5EF4-FFF2-40B4-BE49-F238E27FC236}">
                <a16:creationId xmlns:a16="http://schemas.microsoft.com/office/drawing/2014/main" id="{D4913F67-D3C4-466D-82DF-877B6DA6F4B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987050" y="400078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Bildplatzhalter 9">
            <a:extLst>
              <a:ext uri="{FF2B5EF4-FFF2-40B4-BE49-F238E27FC236}">
                <a16:creationId xmlns:a16="http://schemas.microsoft.com/office/drawing/2014/main" id="{50B2C8F1-4DFD-4838-9CE3-6B1676A406A3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1987050" y="1268413"/>
            <a:ext cx="1957800" cy="269637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sz="975"/>
            </a:lvl1pPr>
          </a:lstStyle>
          <a:p>
            <a:pPr lvl="0" algn="ctr"/>
            <a:r>
              <a:rPr lang="de-DE" dirty="0"/>
              <a:t>Bild einfügen</a:t>
            </a:r>
          </a:p>
        </p:txBody>
      </p:sp>
      <p:sp>
        <p:nvSpPr>
          <p:cNvPr id="31" name="Textplatzhalter 17">
            <a:extLst>
              <a:ext uri="{FF2B5EF4-FFF2-40B4-BE49-F238E27FC236}">
                <a16:creationId xmlns:a16="http://schemas.microsoft.com/office/drawing/2014/main" id="{48929271-8D7F-4699-AFD3-89EFC999CD17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1987050" y="1268413"/>
            <a:ext cx="1957800" cy="459234"/>
          </a:xfrm>
          <a:solidFill>
            <a:schemeClr val="tx1">
              <a:alpha val="59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975">
                <a:solidFill>
                  <a:schemeClr val="bg1"/>
                </a:solidFill>
              </a:defRPr>
            </a:lvl1pPr>
            <a:lvl2pPr marL="324675" indent="0">
              <a:buFontTx/>
              <a:buNone/>
              <a:defRPr/>
            </a:lvl2pPr>
            <a:lvl3pPr marL="742950" indent="0">
              <a:buFontTx/>
              <a:buNone/>
              <a:defRPr/>
            </a:lvl3pPr>
            <a:lvl4pPr marL="1114425" indent="0">
              <a:buFontTx/>
              <a:buNone/>
              <a:defRPr/>
            </a:lvl4pPr>
            <a:lvl5pPr marL="14859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CD51BCD-2FBF-48CE-8B6A-8AA1936E9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E6CD5A-5747-4A10-93AC-3BE540B9D6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F52DC2-1A78-4D03-8D12-858109BB9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0130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an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">
            <a:extLst>
              <a:ext uri="{FF2B5EF4-FFF2-40B4-BE49-F238E27FC236}">
                <a16:creationId xmlns:a16="http://schemas.microsoft.com/office/drawing/2014/main" id="{B14E902E-A19A-48A4-B559-946B38DDA42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64A1DD26-61B2-452C-8756-6FAEAECE6832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0" y="1268499"/>
            <a:ext cx="3060624" cy="2776751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83CE0B-621D-490B-84CF-C46305F31046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3089874" y="1268499"/>
            <a:ext cx="3060624" cy="2776751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5" name="Bildplatzhalter 9">
            <a:extLst>
              <a:ext uri="{FF2B5EF4-FFF2-40B4-BE49-F238E27FC236}">
                <a16:creationId xmlns:a16="http://schemas.microsoft.com/office/drawing/2014/main" id="{779C7DBD-B949-41C7-9206-A96FFC845C3B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0" y="4081250"/>
            <a:ext cx="3060624" cy="2776751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6" name="Bildplatzhalter 9">
            <a:extLst>
              <a:ext uri="{FF2B5EF4-FFF2-40B4-BE49-F238E27FC236}">
                <a16:creationId xmlns:a16="http://schemas.microsoft.com/office/drawing/2014/main" id="{16D21183-A7DD-4390-9B8F-3659135CB3D3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3089874" y="4081250"/>
            <a:ext cx="3060624" cy="2776751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B3BC9FAE-0EA4-487D-B64B-D5212A22B56B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6179747" y="1268499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4" name="Bildplatzhalter 22">
            <a:extLst>
              <a:ext uri="{FF2B5EF4-FFF2-40B4-BE49-F238E27FC236}">
                <a16:creationId xmlns:a16="http://schemas.microsoft.com/office/drawing/2014/main" id="{C87331E4-ABB3-4151-8F99-44E5BD2F371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79747" y="3143666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5" name="Bildplatzhalter 22">
            <a:extLst>
              <a:ext uri="{FF2B5EF4-FFF2-40B4-BE49-F238E27FC236}">
                <a16:creationId xmlns:a16="http://schemas.microsoft.com/office/drawing/2014/main" id="{8D96F607-6F26-48E6-925F-AF4A10175BDB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6179747" y="5018833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0" name="Bildplatzhalter 22">
            <a:extLst>
              <a:ext uri="{FF2B5EF4-FFF2-40B4-BE49-F238E27FC236}">
                <a16:creationId xmlns:a16="http://schemas.microsoft.com/office/drawing/2014/main" id="{C7D0E0DA-8338-4D56-8C11-6A11AD1F5A9E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8057498" y="5018833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1" name="Bildplatzhalter 22">
            <a:extLst>
              <a:ext uri="{FF2B5EF4-FFF2-40B4-BE49-F238E27FC236}">
                <a16:creationId xmlns:a16="http://schemas.microsoft.com/office/drawing/2014/main" id="{9359724B-8A4D-426E-965B-1E5570015079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8057498" y="1268499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2" name="Bildplatzhalter 22">
            <a:extLst>
              <a:ext uri="{FF2B5EF4-FFF2-40B4-BE49-F238E27FC236}">
                <a16:creationId xmlns:a16="http://schemas.microsoft.com/office/drawing/2014/main" id="{A93BB480-D9CF-4B96-B5E6-7654F239F786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8057498" y="3143666"/>
            <a:ext cx="1848501" cy="18391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FontTx/>
              <a:buNone/>
              <a:defRPr sz="975" b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459A91-1F7B-4E6B-A662-CC0F52226A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46234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ue Folie, Bild rund rechts 1">
    <p:bg bwMode="invGray"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val 24">
            <a:extLst>
              <a:ext uri="{FF2B5EF4-FFF2-40B4-BE49-F238E27FC236}">
                <a16:creationId xmlns:a16="http://schemas.microsoft.com/office/drawing/2014/main" id="{E20D9E82-9E01-435A-8553-74A7A641841A}"/>
              </a:ext>
            </a:extLst>
          </p:cNvPr>
          <p:cNvSpPr/>
          <p:nvPr/>
        </p:nvSpPr>
        <p:spPr bwMode="white">
          <a:xfrm rot="10800000">
            <a:off x="4668402" y="445403"/>
            <a:ext cx="519630" cy="639544"/>
          </a:xfrm>
          <a:prstGeom prst="ellipse">
            <a:avLst/>
          </a:prstGeom>
          <a:solidFill>
            <a:schemeClr val="tx2">
              <a:lumMod val="50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A08A51A-CCE0-4261-A9C9-3BEBCD3B6C3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9226599">
            <a:off x="1176095" y="-5482244"/>
            <a:ext cx="6612022" cy="7561991"/>
          </a:xfrm>
          <a:prstGeom prst="rect">
            <a:avLst/>
          </a:prstGeom>
        </p:spPr>
      </p:pic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4DA9ED08-A798-4E29-AA84-2DD934752C7B}"/>
              </a:ext>
            </a:extLst>
          </p:cNvPr>
          <p:cNvSpPr/>
          <p:nvPr/>
        </p:nvSpPr>
        <p:spPr>
          <a:xfrm>
            <a:off x="5128522" y="-17999"/>
            <a:ext cx="4792101" cy="6893999"/>
          </a:xfrm>
          <a:custGeom>
            <a:avLst/>
            <a:gdLst>
              <a:gd name="connsiteX0" fmla="*/ 1143849 w 5897971"/>
              <a:gd name="connsiteY0" fmla="*/ 0 h 6893999"/>
              <a:gd name="connsiteX1" fmla="*/ 5897971 w 5897971"/>
              <a:gd name="connsiteY1" fmla="*/ 0 h 6893999"/>
              <a:gd name="connsiteX2" fmla="*/ 5897971 w 5897971"/>
              <a:gd name="connsiteY2" fmla="*/ 6893999 h 6893999"/>
              <a:gd name="connsiteX3" fmla="*/ 1146454 w 5897971"/>
              <a:gd name="connsiteY3" fmla="*/ 6893999 h 6893999"/>
              <a:gd name="connsiteX4" fmla="*/ 1144103 w 5897971"/>
              <a:gd name="connsiteY4" fmla="*/ 6891006 h 6893999"/>
              <a:gd name="connsiteX5" fmla="*/ 0 w 5897971"/>
              <a:gd name="connsiteY5" fmla="*/ 3445325 h 6893999"/>
              <a:gd name="connsiteX6" fmla="*/ 983540 w 5897971"/>
              <a:gd name="connsiteY6" fmla="*/ 225433 h 689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97971" h="6893999">
                <a:moveTo>
                  <a:pt x="1143849" y="0"/>
                </a:moveTo>
                <a:lnTo>
                  <a:pt x="5897971" y="0"/>
                </a:lnTo>
                <a:lnTo>
                  <a:pt x="5897971" y="6893999"/>
                </a:lnTo>
                <a:lnTo>
                  <a:pt x="1146454" y="6893999"/>
                </a:lnTo>
                <a:lnTo>
                  <a:pt x="1144103" y="6891006"/>
                </a:lnTo>
                <a:cubicBezTo>
                  <a:pt x="425532" y="5930165"/>
                  <a:pt x="0" y="4737440"/>
                  <a:pt x="0" y="3445325"/>
                </a:cubicBezTo>
                <a:cubicBezTo>
                  <a:pt x="0" y="2252604"/>
                  <a:pt x="362583" y="1144570"/>
                  <a:pt x="983540" y="225433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5" name="Oval 28">
            <a:extLst>
              <a:ext uri="{FF2B5EF4-FFF2-40B4-BE49-F238E27FC236}">
                <a16:creationId xmlns:a16="http://schemas.microsoft.com/office/drawing/2014/main" id="{430A70C8-1484-4880-9D4E-07CC9D0C13E9}"/>
              </a:ext>
            </a:extLst>
          </p:cNvPr>
          <p:cNvSpPr/>
          <p:nvPr/>
        </p:nvSpPr>
        <p:spPr bwMode="white">
          <a:xfrm>
            <a:off x="5573718" y="670323"/>
            <a:ext cx="175520" cy="21602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7" name="Freihandform 23">
            <a:extLst>
              <a:ext uri="{FF2B5EF4-FFF2-40B4-BE49-F238E27FC236}">
                <a16:creationId xmlns:a16="http://schemas.microsoft.com/office/drawing/2014/main" id="{4D22E061-D616-421D-9076-132A92859873}"/>
              </a:ext>
            </a:extLst>
          </p:cNvPr>
          <p:cNvSpPr/>
          <p:nvPr/>
        </p:nvSpPr>
        <p:spPr bwMode="white">
          <a:xfrm rot="10800000" flipH="1">
            <a:off x="1" y="2087918"/>
            <a:ext cx="3506835" cy="477008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50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90A100D-F59A-433C-8823-A0324FF80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D87E083B-00EA-460D-86AF-8D1C961119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352848" y="0"/>
            <a:ext cx="4553151" cy="6858000"/>
          </a:xfrm>
          <a:custGeom>
            <a:avLst/>
            <a:gdLst>
              <a:gd name="connsiteX0" fmla="*/ 1210346 w 5603878"/>
              <a:gd name="connsiteY0" fmla="*/ 0 h 6858000"/>
              <a:gd name="connsiteX1" fmla="*/ 5603878 w 5603878"/>
              <a:gd name="connsiteY1" fmla="*/ 0 h 6858000"/>
              <a:gd name="connsiteX2" fmla="*/ 5603878 w 5603878"/>
              <a:gd name="connsiteY2" fmla="*/ 6858000 h 6858000"/>
              <a:gd name="connsiteX3" fmla="*/ 1158141 w 5603878"/>
              <a:gd name="connsiteY3" fmla="*/ 6858000 h 6858000"/>
              <a:gd name="connsiteX4" fmla="*/ 1105141 w 5603878"/>
              <a:gd name="connsiteY4" fmla="*/ 6790557 h 6858000"/>
              <a:gd name="connsiteX5" fmla="*/ 0 w 5603878"/>
              <a:gd name="connsiteY5" fmla="*/ 3462216 h 6858000"/>
              <a:gd name="connsiteX6" fmla="*/ 1105142 w 5603878"/>
              <a:gd name="connsiteY6" fmla="*/ 1338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03878" h="6858000">
                <a:moveTo>
                  <a:pt x="1210346" y="0"/>
                </a:moveTo>
                <a:lnTo>
                  <a:pt x="5603878" y="0"/>
                </a:lnTo>
                <a:lnTo>
                  <a:pt x="5603878" y="6858000"/>
                </a:lnTo>
                <a:lnTo>
                  <a:pt x="1158141" y="6858000"/>
                </a:lnTo>
                <a:lnTo>
                  <a:pt x="1105141" y="6790557"/>
                </a:lnTo>
                <a:cubicBezTo>
                  <a:pt x="411042" y="5862436"/>
                  <a:pt x="0" y="4710328"/>
                  <a:pt x="0" y="3462216"/>
                </a:cubicBezTo>
                <a:cubicBezTo>
                  <a:pt x="0" y="2214103"/>
                  <a:pt x="411043" y="1061996"/>
                  <a:pt x="1105142" y="13387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>
                <a:latin typeface="+mn-lt"/>
              </a:defRPr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18" name="Oval 22">
            <a:extLst>
              <a:ext uri="{FF2B5EF4-FFF2-40B4-BE49-F238E27FC236}">
                <a16:creationId xmlns:a16="http://schemas.microsoft.com/office/drawing/2014/main" id="{D9C4CDB5-94CA-4499-9722-5F8DA0D296BA}"/>
              </a:ext>
            </a:extLst>
          </p:cNvPr>
          <p:cNvSpPr/>
          <p:nvPr/>
        </p:nvSpPr>
        <p:spPr bwMode="white">
          <a:xfrm rot="10800000">
            <a:off x="2417714" y="2489173"/>
            <a:ext cx="1634339" cy="2011494"/>
          </a:xfrm>
          <a:prstGeom prst="ellipse">
            <a:avLst/>
          </a:prstGeom>
          <a:solidFill>
            <a:schemeClr val="tx2">
              <a:lumMod val="50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6" name="Group 698">
            <a:extLst>
              <a:ext uri="{FF2B5EF4-FFF2-40B4-BE49-F238E27FC236}">
                <a16:creationId xmlns:a16="http://schemas.microsoft.com/office/drawing/2014/main" id="{56F063D9-9FFB-411B-A2F2-A0B75212AA10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685800" y="524210"/>
            <a:ext cx="721585" cy="278730"/>
            <a:chOff x="561" y="2269"/>
            <a:chExt cx="4636" cy="1455"/>
          </a:xfrm>
        </p:grpSpPr>
        <p:sp>
          <p:nvSpPr>
            <p:cNvPr id="27" name="AutoShape 697">
              <a:extLst>
                <a:ext uri="{FF2B5EF4-FFF2-40B4-BE49-F238E27FC236}">
                  <a16:creationId xmlns:a16="http://schemas.microsoft.com/office/drawing/2014/main" id="{85250290-0B68-4821-8AC2-94B1BF8FA7E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9" name="Oval 699">
              <a:extLst>
                <a:ext uri="{FF2B5EF4-FFF2-40B4-BE49-F238E27FC236}">
                  <a16:creationId xmlns:a16="http://schemas.microsoft.com/office/drawing/2014/main" id="{407E9BDC-B955-48BE-8C67-6107301750BD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700">
              <a:extLst>
                <a:ext uri="{FF2B5EF4-FFF2-40B4-BE49-F238E27FC236}">
                  <a16:creationId xmlns:a16="http://schemas.microsoft.com/office/drawing/2014/main" id="{E30A90D9-0683-4A2D-AEC7-BAAD92380534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1">
              <a:extLst>
                <a:ext uri="{FF2B5EF4-FFF2-40B4-BE49-F238E27FC236}">
                  <a16:creationId xmlns:a16="http://schemas.microsoft.com/office/drawing/2014/main" id="{3D2ABDC6-CCCA-454A-8076-7C0B45438812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702">
              <a:extLst>
                <a:ext uri="{FF2B5EF4-FFF2-40B4-BE49-F238E27FC236}">
                  <a16:creationId xmlns:a16="http://schemas.microsoft.com/office/drawing/2014/main" id="{8499FD1F-F3FF-48B9-A523-B5DB1F1AF824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8A9FB1-AE9D-4D95-BC30-839560C8E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01CD17C-F7CD-400F-8C87-7E84E2E8C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18" y="858975"/>
            <a:ext cx="4269383" cy="1080194"/>
          </a:xfrm>
        </p:spPr>
        <p:txBody>
          <a:bodyPr anchor="b" anchorCtr="0"/>
          <a:lstStyle>
            <a:lvl1pPr>
              <a:defRPr sz="22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A14D0A9B-1A56-4DBD-BBD8-24E45EB26ED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83618" y="2351088"/>
            <a:ext cx="4269383" cy="39576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1792105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ote Folie, Bild rund rechts 1">
    <p:bg bwMode="inv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6FA91B71-456D-48EF-9C07-DD8F3AF95312}"/>
              </a:ext>
            </a:extLst>
          </p:cNvPr>
          <p:cNvSpPr/>
          <p:nvPr/>
        </p:nvSpPr>
        <p:spPr>
          <a:xfrm>
            <a:off x="5128522" y="-17999"/>
            <a:ext cx="4792101" cy="6893999"/>
          </a:xfrm>
          <a:custGeom>
            <a:avLst/>
            <a:gdLst>
              <a:gd name="connsiteX0" fmla="*/ 1143849 w 5897971"/>
              <a:gd name="connsiteY0" fmla="*/ 0 h 6893999"/>
              <a:gd name="connsiteX1" fmla="*/ 5897971 w 5897971"/>
              <a:gd name="connsiteY1" fmla="*/ 0 h 6893999"/>
              <a:gd name="connsiteX2" fmla="*/ 5897971 w 5897971"/>
              <a:gd name="connsiteY2" fmla="*/ 6893999 h 6893999"/>
              <a:gd name="connsiteX3" fmla="*/ 1146454 w 5897971"/>
              <a:gd name="connsiteY3" fmla="*/ 6893999 h 6893999"/>
              <a:gd name="connsiteX4" fmla="*/ 1144103 w 5897971"/>
              <a:gd name="connsiteY4" fmla="*/ 6891006 h 6893999"/>
              <a:gd name="connsiteX5" fmla="*/ 0 w 5897971"/>
              <a:gd name="connsiteY5" fmla="*/ 3445325 h 6893999"/>
              <a:gd name="connsiteX6" fmla="*/ 983540 w 5897971"/>
              <a:gd name="connsiteY6" fmla="*/ 225433 h 689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97971" h="6893999">
                <a:moveTo>
                  <a:pt x="1143849" y="0"/>
                </a:moveTo>
                <a:lnTo>
                  <a:pt x="5897971" y="0"/>
                </a:lnTo>
                <a:lnTo>
                  <a:pt x="5897971" y="6893999"/>
                </a:lnTo>
                <a:lnTo>
                  <a:pt x="1146454" y="6893999"/>
                </a:lnTo>
                <a:lnTo>
                  <a:pt x="1144103" y="6891006"/>
                </a:lnTo>
                <a:cubicBezTo>
                  <a:pt x="425532" y="5930165"/>
                  <a:pt x="0" y="4737440"/>
                  <a:pt x="0" y="3445325"/>
                </a:cubicBezTo>
                <a:cubicBezTo>
                  <a:pt x="0" y="2252604"/>
                  <a:pt x="362583" y="1144570"/>
                  <a:pt x="983540" y="225433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7" name="Freihandform 23">
            <a:extLst>
              <a:ext uri="{FF2B5EF4-FFF2-40B4-BE49-F238E27FC236}">
                <a16:creationId xmlns:a16="http://schemas.microsoft.com/office/drawing/2014/main" id="{4D22E061-D616-421D-9076-132A92859873}"/>
              </a:ext>
            </a:extLst>
          </p:cNvPr>
          <p:cNvSpPr/>
          <p:nvPr/>
        </p:nvSpPr>
        <p:spPr bwMode="white">
          <a:xfrm rot="10800000" flipH="1">
            <a:off x="1" y="2087918"/>
            <a:ext cx="3506835" cy="477008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8" name="Oval 22">
            <a:extLst>
              <a:ext uri="{FF2B5EF4-FFF2-40B4-BE49-F238E27FC236}">
                <a16:creationId xmlns:a16="http://schemas.microsoft.com/office/drawing/2014/main" id="{D9C4CDB5-94CA-4499-9722-5F8DA0D296BA}"/>
              </a:ext>
            </a:extLst>
          </p:cNvPr>
          <p:cNvSpPr/>
          <p:nvPr/>
        </p:nvSpPr>
        <p:spPr bwMode="white">
          <a:xfrm rot="10800000">
            <a:off x="2417714" y="2489173"/>
            <a:ext cx="1634339" cy="2011494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9" name="Oval 24">
            <a:extLst>
              <a:ext uri="{FF2B5EF4-FFF2-40B4-BE49-F238E27FC236}">
                <a16:creationId xmlns:a16="http://schemas.microsoft.com/office/drawing/2014/main" id="{E20D9E82-9E01-435A-8553-74A7A641841A}"/>
              </a:ext>
            </a:extLst>
          </p:cNvPr>
          <p:cNvSpPr/>
          <p:nvPr/>
        </p:nvSpPr>
        <p:spPr bwMode="white">
          <a:xfrm rot="10800000">
            <a:off x="4668402" y="445403"/>
            <a:ext cx="519630" cy="639544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E6BAB4E-5F80-46CA-BFB8-56CDA7532F0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9520310">
            <a:off x="-741540" y="3841691"/>
            <a:ext cx="7045349" cy="8057577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90A100D-F59A-433C-8823-A0324FF80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89937C0F-2FC9-4451-836F-F2D715489DB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352849" y="0"/>
            <a:ext cx="4553152" cy="6858000"/>
          </a:xfrm>
          <a:custGeom>
            <a:avLst/>
            <a:gdLst>
              <a:gd name="connsiteX0" fmla="*/ 1210346 w 5603879"/>
              <a:gd name="connsiteY0" fmla="*/ 0 h 6858000"/>
              <a:gd name="connsiteX1" fmla="*/ 5603879 w 5603879"/>
              <a:gd name="connsiteY1" fmla="*/ 0 h 6858000"/>
              <a:gd name="connsiteX2" fmla="*/ 5603879 w 5603879"/>
              <a:gd name="connsiteY2" fmla="*/ 6858000 h 6858000"/>
              <a:gd name="connsiteX3" fmla="*/ 1158141 w 5603879"/>
              <a:gd name="connsiteY3" fmla="*/ 6858000 h 6858000"/>
              <a:gd name="connsiteX4" fmla="*/ 1105141 w 5603879"/>
              <a:gd name="connsiteY4" fmla="*/ 6790557 h 6858000"/>
              <a:gd name="connsiteX5" fmla="*/ 0 w 5603879"/>
              <a:gd name="connsiteY5" fmla="*/ 3462216 h 6858000"/>
              <a:gd name="connsiteX6" fmla="*/ 1105142 w 5603879"/>
              <a:gd name="connsiteY6" fmla="*/ 1338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03879" h="6858000">
                <a:moveTo>
                  <a:pt x="1210346" y="0"/>
                </a:moveTo>
                <a:lnTo>
                  <a:pt x="5603879" y="0"/>
                </a:lnTo>
                <a:lnTo>
                  <a:pt x="5603879" y="6858000"/>
                </a:lnTo>
                <a:lnTo>
                  <a:pt x="1158141" y="6858000"/>
                </a:lnTo>
                <a:lnTo>
                  <a:pt x="1105141" y="6790557"/>
                </a:lnTo>
                <a:cubicBezTo>
                  <a:pt x="411042" y="5862436"/>
                  <a:pt x="0" y="4710328"/>
                  <a:pt x="0" y="3462216"/>
                </a:cubicBezTo>
                <a:cubicBezTo>
                  <a:pt x="0" y="2214103"/>
                  <a:pt x="411043" y="1061996"/>
                  <a:pt x="1105142" y="13387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>
                <a:latin typeface="+mn-lt"/>
              </a:defRPr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27" name="Oval 28">
            <a:extLst>
              <a:ext uri="{FF2B5EF4-FFF2-40B4-BE49-F238E27FC236}">
                <a16:creationId xmlns:a16="http://schemas.microsoft.com/office/drawing/2014/main" id="{BD7EF478-F99A-4A42-9528-C5E65D7C2B34}"/>
              </a:ext>
            </a:extLst>
          </p:cNvPr>
          <p:cNvSpPr/>
          <p:nvPr/>
        </p:nvSpPr>
        <p:spPr bwMode="white">
          <a:xfrm>
            <a:off x="5573718" y="670323"/>
            <a:ext cx="175520" cy="216024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5" name="Group 698">
            <a:extLst>
              <a:ext uri="{FF2B5EF4-FFF2-40B4-BE49-F238E27FC236}">
                <a16:creationId xmlns:a16="http://schemas.microsoft.com/office/drawing/2014/main" id="{66BD6048-7623-4F60-A9AA-1C7CB563DE51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685800" y="524210"/>
            <a:ext cx="721585" cy="278730"/>
            <a:chOff x="561" y="2269"/>
            <a:chExt cx="4636" cy="1455"/>
          </a:xfrm>
        </p:grpSpPr>
        <p:sp>
          <p:nvSpPr>
            <p:cNvPr id="26" name="AutoShape 697">
              <a:extLst>
                <a:ext uri="{FF2B5EF4-FFF2-40B4-BE49-F238E27FC236}">
                  <a16:creationId xmlns:a16="http://schemas.microsoft.com/office/drawing/2014/main" id="{AE487796-C4C9-465F-82DF-338F8668B2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8" name="Oval 699">
              <a:extLst>
                <a:ext uri="{FF2B5EF4-FFF2-40B4-BE49-F238E27FC236}">
                  <a16:creationId xmlns:a16="http://schemas.microsoft.com/office/drawing/2014/main" id="{C51D4FF4-BF77-4005-8B40-342611332139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700">
              <a:extLst>
                <a:ext uri="{FF2B5EF4-FFF2-40B4-BE49-F238E27FC236}">
                  <a16:creationId xmlns:a16="http://schemas.microsoft.com/office/drawing/2014/main" id="{C2FF79F0-FD1C-4897-BD5D-4637408D626D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1">
              <a:extLst>
                <a:ext uri="{FF2B5EF4-FFF2-40B4-BE49-F238E27FC236}">
                  <a16:creationId xmlns:a16="http://schemas.microsoft.com/office/drawing/2014/main" id="{29CF5352-44BF-4EFB-9C20-BCE588D7ECC3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Freeform 702">
              <a:extLst>
                <a:ext uri="{FF2B5EF4-FFF2-40B4-BE49-F238E27FC236}">
                  <a16:creationId xmlns:a16="http://schemas.microsoft.com/office/drawing/2014/main" id="{5B8CCE2B-7C3D-4BA1-B1BA-1B30D7F8696A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8A9FB1-AE9D-4D95-BC30-839560C8E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01CD17C-F7CD-400F-8C87-7E84E2E8C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18" y="858975"/>
            <a:ext cx="4269383" cy="1080194"/>
          </a:xfrm>
        </p:spPr>
        <p:txBody>
          <a:bodyPr anchor="b" anchorCtr="0"/>
          <a:lstStyle>
            <a:lvl1pPr>
              <a:defRPr sz="22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3499C7B-EFD5-49A6-AFBC-04BE56E5FAA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83618" y="2351088"/>
            <a:ext cx="4269383" cy="39576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9200586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ote Folie, Bild rund links">
    <p:bg bwMode="invGray">
      <p:bgPr>
        <a:solidFill>
          <a:srgbClr val="A014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34ABCC49-7501-4F0A-A842-3C2B9405D7AA}"/>
              </a:ext>
            </a:extLst>
          </p:cNvPr>
          <p:cNvSpPr/>
          <p:nvPr/>
        </p:nvSpPr>
        <p:spPr>
          <a:xfrm>
            <a:off x="4601960" y="-18000"/>
            <a:ext cx="5318664" cy="6894000"/>
          </a:xfrm>
          <a:custGeom>
            <a:avLst/>
            <a:gdLst>
              <a:gd name="connsiteX0" fmla="*/ 1268780 w 6546048"/>
              <a:gd name="connsiteY0" fmla="*/ 0 h 6894000"/>
              <a:gd name="connsiteX1" fmla="*/ 6546048 w 6546048"/>
              <a:gd name="connsiteY1" fmla="*/ 0 h 6894000"/>
              <a:gd name="connsiteX2" fmla="*/ 6546048 w 6546048"/>
              <a:gd name="connsiteY2" fmla="*/ 6894000 h 6894000"/>
              <a:gd name="connsiteX3" fmla="*/ 1268780 w 6546048"/>
              <a:gd name="connsiteY3" fmla="*/ 6894000 h 6894000"/>
              <a:gd name="connsiteX4" fmla="*/ 1215262 w 6546048"/>
              <a:gd name="connsiteY4" fmla="*/ 6832217 h 6894000"/>
              <a:gd name="connsiteX5" fmla="*/ 0 w 6546048"/>
              <a:gd name="connsiteY5" fmla="*/ 3447000 h 6894000"/>
              <a:gd name="connsiteX6" fmla="*/ 1215262 w 6546048"/>
              <a:gd name="connsiteY6" fmla="*/ 61783 h 689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6048" h="6894000">
                <a:moveTo>
                  <a:pt x="1268780" y="0"/>
                </a:moveTo>
                <a:lnTo>
                  <a:pt x="6546048" y="0"/>
                </a:lnTo>
                <a:lnTo>
                  <a:pt x="6546048" y="6894000"/>
                </a:lnTo>
                <a:lnTo>
                  <a:pt x="1268780" y="6894000"/>
                </a:lnTo>
                <a:lnTo>
                  <a:pt x="1215262" y="6832217"/>
                </a:lnTo>
                <a:cubicBezTo>
                  <a:pt x="456063" y="5912280"/>
                  <a:pt x="0" y="4732900"/>
                  <a:pt x="0" y="3447000"/>
                </a:cubicBezTo>
                <a:cubicBezTo>
                  <a:pt x="0" y="2161101"/>
                  <a:pt x="456063" y="981720"/>
                  <a:pt x="1215262" y="61783"/>
                </a:cubicBezTo>
                <a:close/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110F350C-9881-4AA7-B824-3B1C357EE02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5378182" cy="6858000"/>
          </a:xfrm>
          <a:custGeom>
            <a:avLst/>
            <a:gdLst>
              <a:gd name="connsiteX0" fmla="*/ 0 w 6619301"/>
              <a:gd name="connsiteY0" fmla="*/ 0 h 6858000"/>
              <a:gd name="connsiteX1" fmla="*/ 6618381 w 6619301"/>
              <a:gd name="connsiteY1" fmla="*/ 0 h 6858000"/>
              <a:gd name="connsiteX2" fmla="*/ 6529195 w 6619301"/>
              <a:gd name="connsiteY2" fmla="*/ 113491 h 6858000"/>
              <a:gd name="connsiteX3" fmla="*/ 5428509 w 6619301"/>
              <a:gd name="connsiteY3" fmla="*/ 3428415 h 6858000"/>
              <a:gd name="connsiteX4" fmla="*/ 6529195 w 6619301"/>
              <a:gd name="connsiteY4" fmla="*/ 6743339 h 6858000"/>
              <a:gd name="connsiteX5" fmla="*/ 6619301 w 6619301"/>
              <a:gd name="connsiteY5" fmla="*/ 6858000 h 6858000"/>
              <a:gd name="connsiteX6" fmla="*/ 0 w 661930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19301" h="6858000">
                <a:moveTo>
                  <a:pt x="0" y="0"/>
                </a:moveTo>
                <a:lnTo>
                  <a:pt x="6618381" y="0"/>
                </a:lnTo>
                <a:lnTo>
                  <a:pt x="6529195" y="113491"/>
                </a:lnTo>
                <a:cubicBezTo>
                  <a:pt x="5837894" y="1037870"/>
                  <a:pt x="5428509" y="2185334"/>
                  <a:pt x="5428509" y="3428415"/>
                </a:cubicBezTo>
                <a:cubicBezTo>
                  <a:pt x="5428509" y="4671496"/>
                  <a:pt x="5837894" y="5818960"/>
                  <a:pt x="6529195" y="6743339"/>
                </a:cubicBezTo>
                <a:lnTo>
                  <a:pt x="66193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>
                <a:latin typeface="+mn-lt"/>
              </a:defRPr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</a:t>
            </a:r>
            <a:br>
              <a:rPr lang="de-DE" dirty="0"/>
            </a:br>
            <a:r>
              <a:rPr lang="de-DE" dirty="0"/>
              <a:t>(Klick auf die graue Fläche) und ein Bild aus den</a:t>
            </a:r>
            <a:br>
              <a:rPr lang="de-DE" dirty="0"/>
            </a:br>
            <a:r>
              <a:rPr lang="de-DE" dirty="0"/>
              <a:t>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8" name="Oval 12">
            <a:extLst>
              <a:ext uri="{FF2B5EF4-FFF2-40B4-BE49-F238E27FC236}">
                <a16:creationId xmlns:a16="http://schemas.microsoft.com/office/drawing/2014/main" id="{6D2474B1-8E23-439F-B800-35C49AAA82D2}"/>
              </a:ext>
            </a:extLst>
          </p:cNvPr>
          <p:cNvSpPr/>
          <p:nvPr/>
        </p:nvSpPr>
        <p:spPr bwMode="white">
          <a:xfrm>
            <a:off x="6939509" y="2574701"/>
            <a:ext cx="1387288" cy="1707431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9" name="Freihandform 14">
            <a:extLst>
              <a:ext uri="{FF2B5EF4-FFF2-40B4-BE49-F238E27FC236}">
                <a16:creationId xmlns:a16="http://schemas.microsoft.com/office/drawing/2014/main" id="{E19BBD97-37E2-4CC9-917C-A47AF501F519}"/>
              </a:ext>
            </a:extLst>
          </p:cNvPr>
          <p:cNvSpPr/>
          <p:nvPr/>
        </p:nvSpPr>
        <p:spPr bwMode="white">
          <a:xfrm rot="10800000">
            <a:off x="7000727" y="2906177"/>
            <a:ext cx="2905273" cy="395182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F055A9C-07FD-48E3-9778-6CCDC8DC8BD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8505293">
            <a:off x="4797445" y="-4891688"/>
            <a:ext cx="8671199" cy="6546781"/>
          </a:xfrm>
          <a:prstGeom prst="rect">
            <a:avLst/>
          </a:prstGeom>
        </p:spPr>
      </p:pic>
      <p:grpSp>
        <p:nvGrpSpPr>
          <p:cNvPr id="26" name="Group 698">
            <a:extLst>
              <a:ext uri="{FF2B5EF4-FFF2-40B4-BE49-F238E27FC236}">
                <a16:creationId xmlns:a16="http://schemas.microsoft.com/office/drawing/2014/main" id="{43D91615-2455-453B-AB3F-E54B96429FC2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27" name="AutoShape 697">
              <a:extLst>
                <a:ext uri="{FF2B5EF4-FFF2-40B4-BE49-F238E27FC236}">
                  <a16:creationId xmlns:a16="http://schemas.microsoft.com/office/drawing/2014/main" id="{98FC4E6B-3888-47B5-BF17-A89D49ECFB6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8" name="Oval 699">
              <a:extLst>
                <a:ext uri="{FF2B5EF4-FFF2-40B4-BE49-F238E27FC236}">
                  <a16:creationId xmlns:a16="http://schemas.microsoft.com/office/drawing/2014/main" id="{52447DBD-57A9-4F37-94D6-B28D7233702A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29" name="Freeform 700">
              <a:extLst>
                <a:ext uri="{FF2B5EF4-FFF2-40B4-BE49-F238E27FC236}">
                  <a16:creationId xmlns:a16="http://schemas.microsoft.com/office/drawing/2014/main" id="{25ED3363-E316-4F41-BE0E-E9B99EDB32C7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0" name="Freeform 701">
              <a:extLst>
                <a:ext uri="{FF2B5EF4-FFF2-40B4-BE49-F238E27FC236}">
                  <a16:creationId xmlns:a16="http://schemas.microsoft.com/office/drawing/2014/main" id="{8822FAA6-F2BF-44BB-B5E7-3098FA432CE5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1" name="Freeform 702">
              <a:extLst>
                <a:ext uri="{FF2B5EF4-FFF2-40B4-BE49-F238E27FC236}">
                  <a16:creationId xmlns:a16="http://schemas.microsoft.com/office/drawing/2014/main" id="{7ACA3E4E-D2A6-4869-8C1F-E1EDCE4B29A9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061DB1-433A-4D13-9456-6C53B3E99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919D54-F5C7-4DEB-8A75-11D4B2633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7758DA-BEFC-4EE2-942B-311B735F8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50" y="858975"/>
            <a:ext cx="3978522" cy="1080195"/>
          </a:xfrm>
        </p:spPr>
        <p:txBody>
          <a:bodyPr anchor="b" anchorCtr="0"/>
          <a:lstStyle>
            <a:lvl1pPr>
              <a:defRPr sz="22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22CE4868-304D-481A-9C14-D68B51D2B16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245150" y="2351090"/>
            <a:ext cx="3978522" cy="39576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1677721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eisse Folie, Bild run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B6B4E960-54A7-488B-8F1D-7209C6E1BE8A}"/>
              </a:ext>
            </a:extLst>
          </p:cNvPr>
          <p:cNvSpPr/>
          <p:nvPr/>
        </p:nvSpPr>
        <p:spPr>
          <a:xfrm>
            <a:off x="4423718" y="-18000"/>
            <a:ext cx="5496905" cy="6894000"/>
          </a:xfrm>
          <a:custGeom>
            <a:avLst/>
            <a:gdLst>
              <a:gd name="connsiteX0" fmla="*/ 1188582 w 6765422"/>
              <a:gd name="connsiteY0" fmla="*/ 0 h 6894000"/>
              <a:gd name="connsiteX1" fmla="*/ 6765422 w 6765422"/>
              <a:gd name="connsiteY1" fmla="*/ 0 h 6894000"/>
              <a:gd name="connsiteX2" fmla="*/ 6765422 w 6765422"/>
              <a:gd name="connsiteY2" fmla="*/ 6894000 h 6894000"/>
              <a:gd name="connsiteX3" fmla="*/ 1351707 w 6765422"/>
              <a:gd name="connsiteY3" fmla="*/ 6894000 h 6894000"/>
              <a:gd name="connsiteX4" fmla="*/ 1215262 w 6765422"/>
              <a:gd name="connsiteY4" fmla="*/ 6736483 h 6894000"/>
              <a:gd name="connsiteX5" fmla="*/ 0 w 6765422"/>
              <a:gd name="connsiteY5" fmla="*/ 3351266 h 6894000"/>
              <a:gd name="connsiteX6" fmla="*/ 1057273 w 6765422"/>
              <a:gd name="connsiteY6" fmla="*/ 167094 h 689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65422" h="6894000">
                <a:moveTo>
                  <a:pt x="1188582" y="0"/>
                </a:moveTo>
                <a:lnTo>
                  <a:pt x="6765422" y="0"/>
                </a:lnTo>
                <a:lnTo>
                  <a:pt x="6765422" y="6894000"/>
                </a:lnTo>
                <a:lnTo>
                  <a:pt x="1351707" y="6894000"/>
                </a:lnTo>
                <a:lnTo>
                  <a:pt x="1215262" y="6736483"/>
                </a:lnTo>
                <a:cubicBezTo>
                  <a:pt x="456063" y="5816546"/>
                  <a:pt x="0" y="4637166"/>
                  <a:pt x="0" y="3351266"/>
                </a:cubicBezTo>
                <a:cubicBezTo>
                  <a:pt x="0" y="2157217"/>
                  <a:pt x="393239" y="1055012"/>
                  <a:pt x="1057273" y="167094"/>
                </a:cubicBezTo>
                <a:close/>
              </a:path>
            </a:pathLst>
          </a:custGeom>
          <a:noFill/>
          <a:ln w="12700">
            <a:solidFill>
              <a:srgbClr val="A014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64B967DC-2188-4714-9869-7DF2C8FE81B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5192155" cy="6858000"/>
          </a:xfrm>
          <a:custGeom>
            <a:avLst/>
            <a:gdLst>
              <a:gd name="connsiteX0" fmla="*/ 0 w 6390344"/>
              <a:gd name="connsiteY0" fmla="*/ 0 h 6858000"/>
              <a:gd name="connsiteX1" fmla="*/ 6250683 w 6390344"/>
              <a:gd name="connsiteY1" fmla="*/ 0 h 6858000"/>
              <a:gd name="connsiteX2" fmla="*/ 6049299 w 6390344"/>
              <a:gd name="connsiteY2" fmla="*/ 292398 h 6858000"/>
              <a:gd name="connsiteX3" fmla="*/ 5169807 w 6390344"/>
              <a:gd name="connsiteY3" fmla="*/ 3335523 h 6858000"/>
              <a:gd name="connsiteX4" fmla="*/ 6302140 w 6390344"/>
              <a:gd name="connsiteY4" fmla="*/ 6745758 h 6858000"/>
              <a:gd name="connsiteX5" fmla="*/ 6390344 w 6390344"/>
              <a:gd name="connsiteY5" fmla="*/ 6858000 h 6858000"/>
              <a:gd name="connsiteX6" fmla="*/ 1947419 w 6390344"/>
              <a:gd name="connsiteY6" fmla="*/ 6858000 h 6858000"/>
              <a:gd name="connsiteX7" fmla="*/ 0 w 6390344"/>
              <a:gd name="connsiteY7" fmla="*/ 68554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90344" h="6858000">
                <a:moveTo>
                  <a:pt x="0" y="0"/>
                </a:moveTo>
                <a:lnTo>
                  <a:pt x="6250683" y="0"/>
                </a:lnTo>
                <a:lnTo>
                  <a:pt x="6049299" y="292398"/>
                </a:lnTo>
                <a:cubicBezTo>
                  <a:pt x="5492254" y="1172895"/>
                  <a:pt x="5169807" y="2216553"/>
                  <a:pt x="5169807" y="3335523"/>
                </a:cubicBezTo>
                <a:cubicBezTo>
                  <a:pt x="5169807" y="4614345"/>
                  <a:pt x="5590962" y="5794802"/>
                  <a:pt x="6302140" y="6745758"/>
                </a:cubicBezTo>
                <a:lnTo>
                  <a:pt x="6390344" y="6858000"/>
                </a:lnTo>
                <a:lnTo>
                  <a:pt x="1947419" y="6858000"/>
                </a:lnTo>
                <a:lnTo>
                  <a:pt x="0" y="6855497"/>
                </a:ln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/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</a:t>
            </a:r>
            <a:br>
              <a:rPr lang="de-DE" dirty="0"/>
            </a:br>
            <a:r>
              <a:rPr lang="de-DE" dirty="0"/>
              <a:t>(Klick auf die graue Fläche) und ein Bild aus den</a:t>
            </a:r>
            <a:br>
              <a:rPr lang="de-DE" dirty="0"/>
            </a:br>
            <a:r>
              <a:rPr lang="de-DE" dirty="0"/>
              <a:t>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8" name="Oval 12">
            <a:extLst>
              <a:ext uri="{FF2B5EF4-FFF2-40B4-BE49-F238E27FC236}">
                <a16:creationId xmlns:a16="http://schemas.microsoft.com/office/drawing/2014/main" id="{6D2474B1-8E23-439F-B800-35C49AAA82D2}"/>
              </a:ext>
            </a:extLst>
          </p:cNvPr>
          <p:cNvSpPr/>
          <p:nvPr/>
        </p:nvSpPr>
        <p:spPr bwMode="gray">
          <a:xfrm>
            <a:off x="6939509" y="2574701"/>
            <a:ext cx="1387288" cy="1707431"/>
          </a:xfrm>
          <a:prstGeom prst="ellipse">
            <a:avLst/>
          </a:prstGeom>
          <a:solidFill>
            <a:schemeClr val="bg1">
              <a:lumMod val="85000"/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8" name="Freihandform 14">
            <a:extLst>
              <a:ext uri="{FF2B5EF4-FFF2-40B4-BE49-F238E27FC236}">
                <a16:creationId xmlns:a16="http://schemas.microsoft.com/office/drawing/2014/main" id="{E5BA9B94-04EA-44B8-85C7-0C8B09F767CA}"/>
              </a:ext>
            </a:extLst>
          </p:cNvPr>
          <p:cNvSpPr/>
          <p:nvPr/>
        </p:nvSpPr>
        <p:spPr bwMode="gray">
          <a:xfrm rot="10800000">
            <a:off x="7000727" y="2906177"/>
            <a:ext cx="2905273" cy="395182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5" name="Oval 13">
            <a:extLst>
              <a:ext uri="{FF2B5EF4-FFF2-40B4-BE49-F238E27FC236}">
                <a16:creationId xmlns:a16="http://schemas.microsoft.com/office/drawing/2014/main" id="{29E9E1FD-B337-4326-94D1-407617E30C2A}"/>
              </a:ext>
            </a:extLst>
          </p:cNvPr>
          <p:cNvSpPr/>
          <p:nvPr/>
        </p:nvSpPr>
        <p:spPr>
          <a:xfrm>
            <a:off x="5041832" y="418219"/>
            <a:ext cx="114773" cy="141259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31" name="Group 698">
            <a:extLst>
              <a:ext uri="{FF2B5EF4-FFF2-40B4-BE49-F238E27FC236}">
                <a16:creationId xmlns:a16="http://schemas.microsoft.com/office/drawing/2014/main" id="{1B7E2B6B-3143-4B16-8673-40E67D80ACED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33" name="AutoShape 697">
              <a:extLst>
                <a:ext uri="{FF2B5EF4-FFF2-40B4-BE49-F238E27FC236}">
                  <a16:creationId xmlns:a16="http://schemas.microsoft.com/office/drawing/2014/main" id="{E70F5754-F113-4B03-953D-EE64B4601CC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6" name="Oval 699">
              <a:extLst>
                <a:ext uri="{FF2B5EF4-FFF2-40B4-BE49-F238E27FC236}">
                  <a16:creationId xmlns:a16="http://schemas.microsoft.com/office/drawing/2014/main" id="{9309AEC8-F39B-4BFC-830E-A067BC7E9047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7" name="Freeform 700">
              <a:extLst>
                <a:ext uri="{FF2B5EF4-FFF2-40B4-BE49-F238E27FC236}">
                  <a16:creationId xmlns:a16="http://schemas.microsoft.com/office/drawing/2014/main" id="{1F625172-BAE2-4188-93CA-3395BBBD971B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8" name="Freeform 701">
              <a:extLst>
                <a:ext uri="{FF2B5EF4-FFF2-40B4-BE49-F238E27FC236}">
                  <a16:creationId xmlns:a16="http://schemas.microsoft.com/office/drawing/2014/main" id="{7FFDA405-A704-4489-AFE4-062080C52A63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9" name="Freeform 702">
              <a:extLst>
                <a:ext uri="{FF2B5EF4-FFF2-40B4-BE49-F238E27FC236}">
                  <a16:creationId xmlns:a16="http://schemas.microsoft.com/office/drawing/2014/main" id="{CC5E5A37-5113-4A2B-A2E0-831ABEDC5156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2E8CB9-AD02-4F65-944D-412CDC6F1EA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FCC535D-F2B2-4D55-A4E2-FC44281F4D7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7758DA-BEFC-4EE2-942B-311B735F8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5150" y="858975"/>
            <a:ext cx="3978522" cy="1080195"/>
          </a:xfrm>
        </p:spPr>
        <p:txBody>
          <a:bodyPr anchor="b" anchorCtr="0"/>
          <a:lstStyle>
            <a:lvl1pPr>
              <a:defRPr sz="2275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9" name="Inhaltsplatzhalter 4">
            <a:extLst>
              <a:ext uri="{FF2B5EF4-FFF2-40B4-BE49-F238E27FC236}">
                <a16:creationId xmlns:a16="http://schemas.microsoft.com/office/drawing/2014/main" id="{4126814C-437B-4759-8985-4F5F7B32FED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245151" y="2351089"/>
            <a:ext cx="3978522" cy="39576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3591752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D92F792-515C-4D81-B58C-4BCD9CF15E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906000" cy="6858000"/>
          </a:xfrm>
          <a:noFill/>
        </p:spPr>
        <p:txBody>
          <a:bodyPr anchor="ctr"/>
          <a:lstStyle>
            <a:lvl1pPr marL="0" indent="0" algn="ctr">
              <a:buNone/>
              <a:defRPr sz="975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AABF8232-67BC-4EE5-8E84-B8D29993D955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8912259" y="524211"/>
            <a:ext cx="720939" cy="27848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1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2400F4-5C47-455F-95A2-AAD5E88829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4086000"/>
            <a:ext cx="9905999" cy="1440000"/>
          </a:xfrm>
          <a:solidFill>
            <a:schemeClr val="bg1"/>
          </a:solidFill>
        </p:spPr>
        <p:txBody>
          <a:bodyPr lIns="792000" anchor="ctr" anchorCtr="0"/>
          <a:lstStyle>
            <a:lvl1pPr algn="l">
              <a:defRPr sz="3575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C350885-EA58-4E93-84C8-2C045011A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B6DECA1-6CCC-447E-8310-2FFCBBD66E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7746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97CA622-0C64-4CC4-A4A4-9E7845E345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906000" cy="6858000"/>
          </a:xfrm>
        </p:spPr>
        <p:txBody>
          <a:bodyPr anchor="ctr" anchorCtr="0"/>
          <a:lstStyle>
            <a:lvl1pPr marL="0" indent="0" algn="ctr">
              <a:buFontTx/>
              <a:buNone/>
              <a:defRPr sz="975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1" name="Onlinebild-Platzhalter 9">
            <a:extLst>
              <a:ext uri="{FF2B5EF4-FFF2-40B4-BE49-F238E27FC236}">
                <a16:creationId xmlns:a16="http://schemas.microsoft.com/office/drawing/2014/main" id="{DC2ED322-E56A-48D6-AFE1-BC6119747F38}"/>
              </a:ext>
            </a:extLst>
          </p:cNvPr>
          <p:cNvSpPr>
            <a:spLocks noGrp="1" noChangeAspect="1"/>
          </p:cNvSpPr>
          <p:nvPr>
            <p:ph type="clipArt" sz="quarter" idx="14" hasCustomPrompt="1"/>
          </p:nvPr>
        </p:nvSpPr>
        <p:spPr>
          <a:xfrm>
            <a:off x="8912259" y="524210"/>
            <a:ext cx="721585" cy="278730"/>
          </a:xfrm>
          <a:blipFill>
            <a:blip r:embed="rId2"/>
            <a:stretch>
              <a:fillRect/>
            </a:stretch>
          </a:blipFill>
        </p:spPr>
        <p:txBody>
          <a:bodyPr anchor="b"/>
          <a:lstStyle>
            <a:lvl1pPr algn="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529409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">
    <p:bg bwMode="invGray">
      <p:bgPr>
        <a:solidFill>
          <a:srgbClr val="A014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6">
            <a:extLst>
              <a:ext uri="{FF2B5EF4-FFF2-40B4-BE49-F238E27FC236}">
                <a16:creationId xmlns:a16="http://schemas.microsoft.com/office/drawing/2014/main" id="{C694F8C5-0F8D-42AE-8992-4299470102C9}"/>
              </a:ext>
            </a:extLst>
          </p:cNvPr>
          <p:cNvSpPr/>
          <p:nvPr/>
        </p:nvSpPr>
        <p:spPr bwMode="white">
          <a:xfrm>
            <a:off x="3899882" y="367738"/>
            <a:ext cx="2106234" cy="2592288"/>
          </a:xfrm>
          <a:prstGeom prst="ellipse">
            <a:avLst/>
          </a:prstGeom>
          <a:solidFill>
            <a:srgbClr val="631441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4" name="Freihandform 16">
            <a:extLst>
              <a:ext uri="{FF2B5EF4-FFF2-40B4-BE49-F238E27FC236}">
                <a16:creationId xmlns:a16="http://schemas.microsoft.com/office/drawing/2014/main" id="{8D3B2DE7-8B68-40CD-B7BE-A00356A57B45}"/>
              </a:ext>
            </a:extLst>
          </p:cNvPr>
          <p:cNvSpPr/>
          <p:nvPr/>
        </p:nvSpPr>
        <p:spPr bwMode="white">
          <a:xfrm flipH="1">
            <a:off x="5387621" y="1"/>
            <a:ext cx="4519392" cy="6147385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631441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5" name="Oval 7">
            <a:extLst>
              <a:ext uri="{FF2B5EF4-FFF2-40B4-BE49-F238E27FC236}">
                <a16:creationId xmlns:a16="http://schemas.microsoft.com/office/drawing/2014/main" id="{AA82F422-AC76-4639-9112-4897641301B4}"/>
              </a:ext>
            </a:extLst>
          </p:cNvPr>
          <p:cNvSpPr/>
          <p:nvPr/>
        </p:nvSpPr>
        <p:spPr bwMode="white">
          <a:xfrm>
            <a:off x="144958" y="5230813"/>
            <a:ext cx="424901" cy="522955"/>
          </a:xfrm>
          <a:prstGeom prst="ellipse">
            <a:avLst/>
          </a:prstGeom>
          <a:solidFill>
            <a:srgbClr val="631441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1F83C1A-3456-4CFF-AD65-96E41018ED4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9009125">
            <a:off x="743634" y="4089795"/>
            <a:ext cx="7045349" cy="8057577"/>
          </a:xfrm>
          <a:prstGeom prst="rect">
            <a:avLst/>
          </a:prstGeom>
        </p:spPr>
      </p:pic>
      <p:sp>
        <p:nvSpPr>
          <p:cNvPr id="18" name="Oval 8">
            <a:extLst>
              <a:ext uri="{FF2B5EF4-FFF2-40B4-BE49-F238E27FC236}">
                <a16:creationId xmlns:a16="http://schemas.microsoft.com/office/drawing/2014/main" id="{89939EEA-B110-440C-85AD-5374DCDA39C9}"/>
              </a:ext>
            </a:extLst>
          </p:cNvPr>
          <p:cNvSpPr/>
          <p:nvPr/>
        </p:nvSpPr>
        <p:spPr bwMode="white">
          <a:xfrm>
            <a:off x="4302464" y="3756745"/>
            <a:ext cx="431830" cy="531483"/>
          </a:xfrm>
          <a:prstGeom prst="ellipse">
            <a:avLst/>
          </a:prstGeom>
          <a:solidFill>
            <a:srgbClr val="631441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CC9B4C-3A10-4D94-8FD7-5387D32314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3475" y="475171"/>
            <a:ext cx="4269525" cy="792000"/>
          </a:xfrm>
        </p:spPr>
        <p:txBody>
          <a:bodyPr/>
          <a:lstStyle>
            <a:lvl1pPr>
              <a:defRPr sz="4875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ontakt</a:t>
            </a:r>
          </a:p>
        </p:txBody>
      </p:sp>
      <p:sp>
        <p:nvSpPr>
          <p:cNvPr id="22" name="Bildplatzhalter 39">
            <a:extLst>
              <a:ext uri="{FF2B5EF4-FFF2-40B4-BE49-F238E27FC236}">
                <a16:creationId xmlns:a16="http://schemas.microsoft.com/office/drawing/2014/main" id="{39BC9ADD-F4B8-40F8-A374-4A907F75CCC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6440" y="1847676"/>
            <a:ext cx="814157" cy="1002039"/>
          </a:xfrm>
          <a:custGeom>
            <a:avLst/>
            <a:gdLst>
              <a:gd name="connsiteX0" fmla="*/ 625710 w 1251420"/>
              <a:gd name="connsiteY0" fmla="*/ 0 h 1251420"/>
              <a:gd name="connsiteX1" fmla="*/ 1251420 w 1251420"/>
              <a:gd name="connsiteY1" fmla="*/ 625710 h 1251420"/>
              <a:gd name="connsiteX2" fmla="*/ 625710 w 1251420"/>
              <a:gd name="connsiteY2" fmla="*/ 1251420 h 1251420"/>
              <a:gd name="connsiteX3" fmla="*/ 0 w 1251420"/>
              <a:gd name="connsiteY3" fmla="*/ 625710 h 1251420"/>
              <a:gd name="connsiteX4" fmla="*/ 625710 w 1251420"/>
              <a:gd name="connsiteY4" fmla="*/ 0 h 125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1420" h="1251420">
                <a:moveTo>
                  <a:pt x="625710" y="0"/>
                </a:moveTo>
                <a:cubicBezTo>
                  <a:pt x="971280" y="0"/>
                  <a:pt x="1251420" y="280140"/>
                  <a:pt x="1251420" y="625710"/>
                </a:cubicBezTo>
                <a:cubicBezTo>
                  <a:pt x="1251420" y="971280"/>
                  <a:pt x="971280" y="1251420"/>
                  <a:pt x="625710" y="1251420"/>
                </a:cubicBezTo>
                <a:cubicBezTo>
                  <a:pt x="280140" y="1251420"/>
                  <a:pt x="0" y="971280"/>
                  <a:pt x="0" y="625710"/>
                </a:cubicBezTo>
                <a:cubicBezTo>
                  <a:pt x="0" y="280140"/>
                  <a:pt x="280140" y="0"/>
                  <a:pt x="62571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6450" indent="0" algn="ctr">
              <a:buNone/>
              <a:defRPr sz="975" b="0" i="0">
                <a:latin typeface="+mn-lt"/>
              </a:defRPr>
            </a:lvl1pPr>
          </a:lstStyle>
          <a:p>
            <a:r>
              <a:rPr lang="de-DE" dirty="0"/>
              <a:t>Bild einfügen und Folie zurücksetzen</a:t>
            </a:r>
          </a:p>
        </p:txBody>
      </p:sp>
      <p:sp>
        <p:nvSpPr>
          <p:cNvPr id="23" name="Bildplatzhalter 40">
            <a:extLst>
              <a:ext uri="{FF2B5EF4-FFF2-40B4-BE49-F238E27FC236}">
                <a16:creationId xmlns:a16="http://schemas.microsoft.com/office/drawing/2014/main" id="{F87C7A95-FA4B-4535-82B0-A81336C2846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86440" y="3038224"/>
            <a:ext cx="814157" cy="1002039"/>
          </a:xfrm>
          <a:custGeom>
            <a:avLst/>
            <a:gdLst>
              <a:gd name="connsiteX0" fmla="*/ 625710 w 1251420"/>
              <a:gd name="connsiteY0" fmla="*/ 0 h 1251420"/>
              <a:gd name="connsiteX1" fmla="*/ 1251420 w 1251420"/>
              <a:gd name="connsiteY1" fmla="*/ 625710 h 1251420"/>
              <a:gd name="connsiteX2" fmla="*/ 625710 w 1251420"/>
              <a:gd name="connsiteY2" fmla="*/ 1251420 h 1251420"/>
              <a:gd name="connsiteX3" fmla="*/ 0 w 1251420"/>
              <a:gd name="connsiteY3" fmla="*/ 625710 h 1251420"/>
              <a:gd name="connsiteX4" fmla="*/ 625710 w 1251420"/>
              <a:gd name="connsiteY4" fmla="*/ 0 h 125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1420" h="1251420">
                <a:moveTo>
                  <a:pt x="625710" y="0"/>
                </a:moveTo>
                <a:cubicBezTo>
                  <a:pt x="971280" y="0"/>
                  <a:pt x="1251420" y="280140"/>
                  <a:pt x="1251420" y="625710"/>
                </a:cubicBezTo>
                <a:cubicBezTo>
                  <a:pt x="1251420" y="971280"/>
                  <a:pt x="971280" y="1251420"/>
                  <a:pt x="625710" y="1251420"/>
                </a:cubicBezTo>
                <a:cubicBezTo>
                  <a:pt x="280140" y="1251420"/>
                  <a:pt x="0" y="971280"/>
                  <a:pt x="0" y="625710"/>
                </a:cubicBezTo>
                <a:cubicBezTo>
                  <a:pt x="0" y="280140"/>
                  <a:pt x="280140" y="0"/>
                  <a:pt x="62571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6450" indent="0" algn="ctr">
              <a:buNone/>
              <a:defRPr sz="975" b="0" i="0">
                <a:latin typeface="+mn-lt"/>
              </a:defRPr>
            </a:lvl1pPr>
          </a:lstStyle>
          <a:p>
            <a:r>
              <a:rPr lang="de-DE" dirty="0"/>
              <a:t>Bild einfügen und Folie zurücksetzen</a:t>
            </a:r>
          </a:p>
        </p:txBody>
      </p:sp>
      <p:sp>
        <p:nvSpPr>
          <p:cNvPr id="24" name="Bildplatzhalter 41">
            <a:extLst>
              <a:ext uri="{FF2B5EF4-FFF2-40B4-BE49-F238E27FC236}">
                <a16:creationId xmlns:a16="http://schemas.microsoft.com/office/drawing/2014/main" id="{8D8EB787-9111-4B5F-A8BF-8B4C56D95D7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86440" y="4228775"/>
            <a:ext cx="814157" cy="1002039"/>
          </a:xfrm>
          <a:custGeom>
            <a:avLst/>
            <a:gdLst>
              <a:gd name="connsiteX0" fmla="*/ 625710 w 1251420"/>
              <a:gd name="connsiteY0" fmla="*/ 0 h 1251420"/>
              <a:gd name="connsiteX1" fmla="*/ 1251420 w 1251420"/>
              <a:gd name="connsiteY1" fmla="*/ 625710 h 1251420"/>
              <a:gd name="connsiteX2" fmla="*/ 625710 w 1251420"/>
              <a:gd name="connsiteY2" fmla="*/ 1251420 h 1251420"/>
              <a:gd name="connsiteX3" fmla="*/ 0 w 1251420"/>
              <a:gd name="connsiteY3" fmla="*/ 625710 h 1251420"/>
              <a:gd name="connsiteX4" fmla="*/ 625710 w 1251420"/>
              <a:gd name="connsiteY4" fmla="*/ 0 h 125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1420" h="1251420">
                <a:moveTo>
                  <a:pt x="625710" y="0"/>
                </a:moveTo>
                <a:cubicBezTo>
                  <a:pt x="971280" y="0"/>
                  <a:pt x="1251420" y="280140"/>
                  <a:pt x="1251420" y="625710"/>
                </a:cubicBezTo>
                <a:cubicBezTo>
                  <a:pt x="1251420" y="971280"/>
                  <a:pt x="971280" y="1251420"/>
                  <a:pt x="625710" y="1251420"/>
                </a:cubicBezTo>
                <a:cubicBezTo>
                  <a:pt x="280140" y="1251420"/>
                  <a:pt x="0" y="971280"/>
                  <a:pt x="0" y="625710"/>
                </a:cubicBezTo>
                <a:cubicBezTo>
                  <a:pt x="0" y="280140"/>
                  <a:pt x="280140" y="0"/>
                  <a:pt x="62571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6450" indent="0" algn="ctr">
              <a:buNone/>
              <a:defRPr sz="975" b="0" i="0">
                <a:latin typeface="+mn-lt"/>
              </a:defRPr>
            </a:lvl1pPr>
          </a:lstStyle>
          <a:p>
            <a:r>
              <a:rPr lang="de-DE" dirty="0"/>
              <a:t>Bild einfügen und Folie zurücksetzen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9EA4F3F5-509B-4A6F-A8F3-BC0EBAF473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02052" y="1847676"/>
            <a:ext cx="3250948" cy="1002039"/>
          </a:xfrm>
        </p:spPr>
        <p:txBody>
          <a:bodyPr/>
          <a:lstStyle>
            <a:lvl1pPr marL="0" indent="0">
              <a:buFontTx/>
              <a:buNone/>
              <a:defRPr sz="1138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Ansprechpartner 1</a:t>
            </a:r>
          </a:p>
        </p:txBody>
      </p:sp>
      <p:sp>
        <p:nvSpPr>
          <p:cNvPr id="35" name="Textplatzhalter 33">
            <a:extLst>
              <a:ext uri="{FF2B5EF4-FFF2-40B4-BE49-F238E27FC236}">
                <a16:creationId xmlns:a16="http://schemas.microsoft.com/office/drawing/2014/main" id="{1867A3C3-4DCF-49DE-ACDB-4504BF85A1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02054" y="3038224"/>
            <a:ext cx="3250947" cy="1002039"/>
          </a:xfrm>
        </p:spPr>
        <p:txBody>
          <a:bodyPr/>
          <a:lstStyle>
            <a:lvl1pPr marL="0" indent="0">
              <a:buFontTx/>
              <a:buNone/>
              <a:defRPr sz="1138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Ansprechpartner 2</a:t>
            </a:r>
          </a:p>
        </p:txBody>
      </p:sp>
      <p:sp>
        <p:nvSpPr>
          <p:cNvPr id="38" name="Textplatzhalter 33">
            <a:extLst>
              <a:ext uri="{FF2B5EF4-FFF2-40B4-BE49-F238E27FC236}">
                <a16:creationId xmlns:a16="http://schemas.microsoft.com/office/drawing/2014/main" id="{F2E83AE1-F6C8-454E-A602-39A2E0B0D2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02054" y="4228775"/>
            <a:ext cx="3250947" cy="1002039"/>
          </a:xfrm>
        </p:spPr>
        <p:txBody>
          <a:bodyPr/>
          <a:lstStyle>
            <a:lvl1pPr marL="0" indent="0">
              <a:buFontTx/>
              <a:buNone/>
              <a:defRPr sz="1138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Ansprechpartner 3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1E17C46-95DA-4457-B522-C33751D91DA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94085">
            <a:off x="6250133" y="-4173704"/>
            <a:ext cx="7045349" cy="8057577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198170-9D9C-458A-8DC6-A9ACB9EBE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DD4A773-9F89-475D-B783-EEE81AED3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6" name="Gerade Verbindung 11">
            <a:extLst>
              <a:ext uri="{FF2B5EF4-FFF2-40B4-BE49-F238E27FC236}">
                <a16:creationId xmlns:a16="http://schemas.microsoft.com/office/drawing/2014/main" id="{8C39866D-8907-4AE0-A62B-42F62EAF5AA7}"/>
              </a:ext>
            </a:extLst>
          </p:cNvPr>
          <p:cNvCxnSpPr>
            <a:cxnSpLocks/>
          </p:cNvCxnSpPr>
          <p:nvPr/>
        </p:nvCxnSpPr>
        <p:spPr bwMode="black">
          <a:xfrm>
            <a:off x="5596572" y="1853268"/>
            <a:ext cx="0" cy="337754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F118E151-6A48-43A2-ABDF-636B5992867C}"/>
              </a:ext>
            </a:extLst>
          </p:cNvPr>
          <p:cNvSpPr txBox="1"/>
          <p:nvPr/>
        </p:nvSpPr>
        <p:spPr bwMode="black">
          <a:xfrm>
            <a:off x="6074910" y="1854427"/>
            <a:ext cx="3144650" cy="2129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ts val="2460"/>
              </a:lnSpc>
              <a:defRPr b="0" i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/>
            <a:lvl3pPr marL="914400">
              <a:defRPr sz="1800"/>
            </a:lvl3pPr>
            <a:lvl4pPr marL="1371600">
              <a:defRPr sz="1800"/>
            </a:lvl4pPr>
            <a:lvl5pPr marL="1828800">
              <a:defRPr sz="1800"/>
            </a:lvl5pPr>
            <a:lvl6pPr marL="2286000">
              <a:defRPr sz="1800"/>
            </a:lvl6pPr>
            <a:lvl7pPr marL="2743200">
              <a:defRPr sz="1800"/>
            </a:lvl7pPr>
            <a:lvl8pPr marL="3200400">
              <a:defRPr sz="1800"/>
            </a:lvl8pPr>
            <a:lvl9pPr marL="3657600">
              <a:defRPr sz="1800"/>
            </a:lvl9pPr>
          </a:lstStyle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msg systems ag</a:t>
            </a: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Robert-​Bürkle-Straße 1</a:t>
            </a: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85737 Ismaning</a:t>
            </a: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endParaRPr lang="de-DE" sz="1463" b="0" i="0" kern="12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</a:endParaRP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+49 89 96101-0</a:t>
            </a: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+49 89 96101-​1113</a:t>
            </a: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endParaRPr lang="de-DE" sz="1463" b="0" i="0" kern="12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</a:endParaRPr>
          </a:p>
          <a:p>
            <a:pPr marL="0" lvl="0" algn="l" defTabSz="742950" rtl="0" eaLnBrk="1" latinLnBrk="0" hangingPunct="1">
              <a:lnSpc>
                <a:spcPts val="1999"/>
              </a:lnSpc>
              <a:spcBef>
                <a:spcPts val="0"/>
              </a:spcBef>
            </a:pPr>
            <a:r>
              <a:rPr lang="de-DE" sz="1463" b="0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rPr>
              <a:t>info@msg.group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2E1862B7-4EF6-4953-90E1-F97B1C860279}"/>
              </a:ext>
            </a:extLst>
          </p:cNvPr>
          <p:cNvSpPr txBox="1"/>
          <p:nvPr/>
        </p:nvSpPr>
        <p:spPr>
          <a:xfrm>
            <a:off x="683617" y="5999337"/>
            <a:ext cx="3344146" cy="1751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138" b="0" i="0" spc="41" baseline="0" noProof="0" dirty="0">
                <a:solidFill>
                  <a:schemeClr val="bg1"/>
                </a:solidFill>
                <a:latin typeface="Calibri" panose="020F0502020204030204" pitchFamily="34" charset="0"/>
              </a:rPr>
              <a:t>value – inspired by people</a:t>
            </a:r>
          </a:p>
        </p:txBody>
      </p:sp>
      <p:grpSp>
        <p:nvGrpSpPr>
          <p:cNvPr id="32" name="Group 698">
            <a:extLst>
              <a:ext uri="{FF2B5EF4-FFF2-40B4-BE49-F238E27FC236}">
                <a16:creationId xmlns:a16="http://schemas.microsoft.com/office/drawing/2014/main" id="{EDF58693-2C82-4BE9-AF15-1F248C8AFEB5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36" name="AutoShape 697">
              <a:extLst>
                <a:ext uri="{FF2B5EF4-FFF2-40B4-BE49-F238E27FC236}">
                  <a16:creationId xmlns:a16="http://schemas.microsoft.com/office/drawing/2014/main" id="{853EF702-2D4A-46ED-AADF-07918920C3C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7" name="Oval 699">
              <a:extLst>
                <a:ext uri="{FF2B5EF4-FFF2-40B4-BE49-F238E27FC236}">
                  <a16:creationId xmlns:a16="http://schemas.microsoft.com/office/drawing/2014/main" id="{35D24E82-25CF-4CB0-BBAC-85820EFD3672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9" name="Freeform 700">
              <a:extLst>
                <a:ext uri="{FF2B5EF4-FFF2-40B4-BE49-F238E27FC236}">
                  <a16:creationId xmlns:a16="http://schemas.microsoft.com/office/drawing/2014/main" id="{02BABFEE-54D1-4A22-96C1-D3BD9B068DB3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41" name="Freeform 701">
              <a:extLst>
                <a:ext uri="{FF2B5EF4-FFF2-40B4-BE49-F238E27FC236}">
                  <a16:creationId xmlns:a16="http://schemas.microsoft.com/office/drawing/2014/main" id="{624CB114-9C79-435D-B281-251E603ACF03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42" name="Freeform 702">
              <a:extLst>
                <a:ext uri="{FF2B5EF4-FFF2-40B4-BE49-F238E27FC236}">
                  <a16:creationId xmlns:a16="http://schemas.microsoft.com/office/drawing/2014/main" id="{926A9805-83D5-4EE6-BE41-1543B84C637D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61700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s Conn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fik 27" descr="Ein Bild, das draußen, Gebäude, Foto, weiß enthält.&#10;&#10;Automatisch generierte Beschreibung">
            <a:extLst>
              <a:ext uri="{FF2B5EF4-FFF2-40B4-BE49-F238E27FC236}">
                <a16:creationId xmlns:a16="http://schemas.microsoft.com/office/drawing/2014/main" id="{C6D43989-0C98-42E2-8140-A7C03238560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46"/>
            <a:ext cx="9906000" cy="6858346"/>
          </a:xfrm>
          <a:prstGeom prst="rect">
            <a:avLst/>
          </a:prstGeom>
        </p:spPr>
      </p:pic>
      <p:sp>
        <p:nvSpPr>
          <p:cNvPr id="30" name="Oval 6">
            <a:extLst>
              <a:ext uri="{FF2B5EF4-FFF2-40B4-BE49-F238E27FC236}">
                <a16:creationId xmlns:a16="http://schemas.microsoft.com/office/drawing/2014/main" id="{1F78A238-A0B5-43A9-A20C-CAC768550BAF}"/>
              </a:ext>
            </a:extLst>
          </p:cNvPr>
          <p:cNvSpPr/>
          <p:nvPr/>
        </p:nvSpPr>
        <p:spPr bwMode="white">
          <a:xfrm>
            <a:off x="3672655" y="278359"/>
            <a:ext cx="2106234" cy="2592288"/>
          </a:xfrm>
          <a:prstGeom prst="ellipse">
            <a:avLst/>
          </a:prstGeom>
          <a:solidFill>
            <a:schemeClr val="tx1">
              <a:lumMod val="85000"/>
              <a:lumOff val="1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62657C5-CC0C-4005-9D3D-479EC88429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1121073">
            <a:off x="4536435" y="-631990"/>
            <a:ext cx="6612022" cy="7561991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EF34DCE4-B0FF-4B92-BC55-000CD359792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435077">
            <a:off x="-832677" y="1759145"/>
            <a:ext cx="6612022" cy="7561991"/>
          </a:xfrm>
          <a:prstGeom prst="rect">
            <a:avLst/>
          </a:prstGeom>
        </p:spPr>
      </p:pic>
      <p:sp>
        <p:nvSpPr>
          <p:cNvPr id="33" name="Oval 7">
            <a:extLst>
              <a:ext uri="{FF2B5EF4-FFF2-40B4-BE49-F238E27FC236}">
                <a16:creationId xmlns:a16="http://schemas.microsoft.com/office/drawing/2014/main" id="{008A2B6A-474B-4F28-9343-B91A9E6BB62D}"/>
              </a:ext>
            </a:extLst>
          </p:cNvPr>
          <p:cNvSpPr/>
          <p:nvPr/>
        </p:nvSpPr>
        <p:spPr bwMode="white">
          <a:xfrm>
            <a:off x="8377021" y="4776608"/>
            <a:ext cx="1016778" cy="1251419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4" name="Oval 8">
            <a:extLst>
              <a:ext uri="{FF2B5EF4-FFF2-40B4-BE49-F238E27FC236}">
                <a16:creationId xmlns:a16="http://schemas.microsoft.com/office/drawing/2014/main" id="{5FF1597C-F75F-41C3-8DE1-B7ADDBFDD819}"/>
              </a:ext>
            </a:extLst>
          </p:cNvPr>
          <p:cNvSpPr/>
          <p:nvPr/>
        </p:nvSpPr>
        <p:spPr bwMode="white">
          <a:xfrm>
            <a:off x="4737085" y="3149007"/>
            <a:ext cx="431830" cy="531483"/>
          </a:xfrm>
          <a:prstGeom prst="ellipse">
            <a:avLst/>
          </a:prstGeom>
          <a:solidFill>
            <a:srgbClr val="3B3838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9255E659-5692-4912-8B7D-075F14DBF3F6}"/>
              </a:ext>
            </a:extLst>
          </p:cNvPr>
          <p:cNvSpPr/>
          <p:nvPr/>
        </p:nvSpPr>
        <p:spPr bwMode="blackGray">
          <a:xfrm>
            <a:off x="-1" y="4"/>
            <a:ext cx="9906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100000"/>
                  <a:alpha val="6000"/>
                </a:schemeClr>
              </a:gs>
              <a:gs pos="100000">
                <a:schemeClr val="tx1">
                  <a:lumMod val="0"/>
                  <a:alpha val="68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1BE85D82-7DB6-4385-8A58-59F0D93CEEB0}"/>
              </a:ext>
            </a:extLst>
          </p:cNvPr>
          <p:cNvSpPr/>
          <p:nvPr/>
        </p:nvSpPr>
        <p:spPr bwMode="white">
          <a:xfrm>
            <a:off x="0" y="1"/>
            <a:ext cx="4519392" cy="6147385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1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1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6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29" name="Group 698">
            <a:extLst>
              <a:ext uri="{FF2B5EF4-FFF2-40B4-BE49-F238E27FC236}">
                <a16:creationId xmlns:a16="http://schemas.microsoft.com/office/drawing/2014/main" id="{E6F2EDF1-F2D0-4BF4-ADCA-B9AB5F22C499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31" name="AutoShape 697">
              <a:extLst>
                <a:ext uri="{FF2B5EF4-FFF2-40B4-BE49-F238E27FC236}">
                  <a16:creationId xmlns:a16="http://schemas.microsoft.com/office/drawing/2014/main" id="{D6D95EDE-E48D-4E7B-96E3-0C065804706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Oval 699">
              <a:extLst>
                <a:ext uri="{FF2B5EF4-FFF2-40B4-BE49-F238E27FC236}">
                  <a16:creationId xmlns:a16="http://schemas.microsoft.com/office/drawing/2014/main" id="{343DFF8D-AD48-4D24-BFF4-D38DD0697976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7" name="Freeform 700">
              <a:extLst>
                <a:ext uri="{FF2B5EF4-FFF2-40B4-BE49-F238E27FC236}">
                  <a16:creationId xmlns:a16="http://schemas.microsoft.com/office/drawing/2014/main" id="{B6A64862-3E01-42B0-96A8-100633E4B608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43" name="Freeform 701">
              <a:extLst>
                <a:ext uri="{FF2B5EF4-FFF2-40B4-BE49-F238E27FC236}">
                  <a16:creationId xmlns:a16="http://schemas.microsoft.com/office/drawing/2014/main" id="{273F9866-A99D-4F8E-B073-4104F35D1F1A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44" name="Freeform 702">
              <a:extLst>
                <a:ext uri="{FF2B5EF4-FFF2-40B4-BE49-F238E27FC236}">
                  <a16:creationId xmlns:a16="http://schemas.microsoft.com/office/drawing/2014/main" id="{F06B1A1D-35CE-45D2-8DBF-710399C2D688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06BDD9-5DD8-44C1-BE2B-ED43BBA3A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E3F102-8093-4308-B553-1B79A2B7F0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Shape 2859">
            <a:extLst>
              <a:ext uri="{FF2B5EF4-FFF2-40B4-BE49-F238E27FC236}">
                <a16:creationId xmlns:a16="http://schemas.microsoft.com/office/drawing/2014/main" id="{B38AD863-AA78-4F59-83C3-390ACAA7B935}"/>
              </a:ext>
            </a:extLst>
          </p:cNvPr>
          <p:cNvSpPr/>
          <p:nvPr/>
        </p:nvSpPr>
        <p:spPr>
          <a:xfrm>
            <a:off x="2797835" y="4112318"/>
            <a:ext cx="731948" cy="9008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79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1"/>
                  <a:pt x="11183" y="9162"/>
                  <a:pt x="11217" y="9308"/>
                </a:cubicBezTo>
                <a:cubicBezTo>
                  <a:pt x="9543" y="9225"/>
                  <a:pt x="8059" y="8436"/>
                  <a:pt x="7065" y="7236"/>
                </a:cubicBezTo>
                <a:cubicBezTo>
                  <a:pt x="6892" y="7530"/>
                  <a:pt x="6793" y="7869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6" y="9635"/>
                </a:cubicBezTo>
                <a:cubicBezTo>
                  <a:pt x="6776" y="9644"/>
                  <a:pt x="6776" y="9651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5" y="11661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40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5" y="14727"/>
                  <a:pt x="15201" y="11706"/>
                  <a:pt x="15201" y="9086"/>
                </a:cubicBezTo>
                <a:cubicBezTo>
                  <a:pt x="15201" y="9000"/>
                  <a:pt x="15199" y="8915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3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bg1">
              <a:alpha val="76000"/>
            </a:schemeClr>
          </a:solidFill>
          <a:ln w="12700">
            <a:miter lim="400000"/>
          </a:ln>
        </p:spPr>
        <p:txBody>
          <a:bodyPr lIns="15474" tIns="15474" rIns="15474" bIns="15474" anchor="ctr"/>
          <a:lstStyle/>
          <a:p>
            <a:pPr defTabSz="18568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e-DE" sz="1219" b="1" i="0" dirty="0">
              <a:latin typeface="Calibri" panose="020F0502020204030204" pitchFamily="34" charset="0"/>
            </a:endParaRPr>
          </a:p>
        </p:txBody>
      </p:sp>
      <p:sp>
        <p:nvSpPr>
          <p:cNvPr id="24" name="Shape 2861">
            <a:extLst>
              <a:ext uri="{FF2B5EF4-FFF2-40B4-BE49-F238E27FC236}">
                <a16:creationId xmlns:a16="http://schemas.microsoft.com/office/drawing/2014/main" id="{136B579E-C4DA-4351-9B3F-87278DBEDB4A}"/>
              </a:ext>
            </a:extLst>
          </p:cNvPr>
          <p:cNvSpPr/>
          <p:nvPr/>
        </p:nvSpPr>
        <p:spPr>
          <a:xfrm>
            <a:off x="4601137" y="4112318"/>
            <a:ext cx="731948" cy="9008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0"/>
                </a:moveTo>
                <a:cubicBezTo>
                  <a:pt x="14019" y="12090"/>
                  <a:pt x="14019" y="12428"/>
                  <a:pt x="14019" y="12428"/>
                </a:cubicBezTo>
                <a:lnTo>
                  <a:pt x="14019" y="12863"/>
                </a:lnTo>
                <a:lnTo>
                  <a:pt x="14628" y="12863"/>
                </a:lnTo>
                <a:lnTo>
                  <a:pt x="14628" y="12428"/>
                </a:lnTo>
                <a:cubicBezTo>
                  <a:pt x="14628" y="12428"/>
                  <a:pt x="14628" y="12090"/>
                  <a:pt x="14324" y="12090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19" y="13348"/>
                </a:lnTo>
                <a:lnTo>
                  <a:pt x="14019" y="14072"/>
                </a:lnTo>
                <a:cubicBezTo>
                  <a:pt x="14019" y="14072"/>
                  <a:pt x="14019" y="14411"/>
                  <a:pt x="14324" y="14411"/>
                </a:cubicBezTo>
                <a:cubicBezTo>
                  <a:pt x="14628" y="14411"/>
                  <a:pt x="14628" y="14072"/>
                  <a:pt x="14628" y="14072"/>
                </a:cubicBezTo>
                <a:lnTo>
                  <a:pt x="14628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4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1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8" y="11782"/>
                  <a:pt x="12036" y="11558"/>
                  <a:pt x="12347" y="11558"/>
                </a:cubicBezTo>
                <a:cubicBezTo>
                  <a:pt x="12752" y="11558"/>
                  <a:pt x="12904" y="11896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6"/>
                  <a:pt x="8696" y="14556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2"/>
                </a:lnTo>
                <a:cubicBezTo>
                  <a:pt x="9304" y="14362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3" y="11074"/>
                </a:lnTo>
                <a:lnTo>
                  <a:pt x="6363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0"/>
                </a:moveTo>
                <a:cubicBezTo>
                  <a:pt x="14527" y="9430"/>
                  <a:pt x="12667" y="9334"/>
                  <a:pt x="10800" y="9334"/>
                </a:cubicBezTo>
                <a:cubicBezTo>
                  <a:pt x="8940" y="9334"/>
                  <a:pt x="7074" y="9430"/>
                  <a:pt x="7074" y="9430"/>
                </a:cubicBezTo>
                <a:cubicBezTo>
                  <a:pt x="6233" y="9430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5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0"/>
                  <a:pt x="14527" y="943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0"/>
                </a:moveTo>
                <a:cubicBezTo>
                  <a:pt x="11860" y="12090"/>
                  <a:pt x="11757" y="12168"/>
                  <a:pt x="11687" y="12243"/>
                </a:cubicBezTo>
                <a:lnTo>
                  <a:pt x="11687" y="14276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0"/>
                  <a:pt x="11992" y="12090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1"/>
                </a:moveTo>
                <a:cubicBezTo>
                  <a:pt x="12802" y="8801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5" y="8348"/>
                  <a:pt x="12752" y="8348"/>
                </a:cubicBezTo>
                <a:cubicBezTo>
                  <a:pt x="12549" y="8348"/>
                  <a:pt x="12549" y="8196"/>
                  <a:pt x="12549" y="8196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1"/>
                  <a:pt x="12397" y="8801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1"/>
                </a:moveTo>
                <a:lnTo>
                  <a:pt x="10572" y="8801"/>
                </a:lnTo>
                <a:cubicBezTo>
                  <a:pt x="11020" y="8801"/>
                  <a:pt x="11383" y="8440"/>
                  <a:pt x="11383" y="7995"/>
                </a:cubicBezTo>
                <a:lnTo>
                  <a:pt x="11383" y="6684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4"/>
                </a:cubicBezTo>
                <a:lnTo>
                  <a:pt x="9558" y="7995"/>
                </a:lnTo>
                <a:cubicBezTo>
                  <a:pt x="9558" y="8440"/>
                  <a:pt x="9921" y="8801"/>
                  <a:pt x="10369" y="8801"/>
                </a:cubicBezTo>
              </a:path>
            </a:pathLst>
          </a:custGeom>
          <a:solidFill>
            <a:schemeClr val="bg1">
              <a:alpha val="76000"/>
            </a:schemeClr>
          </a:solidFill>
          <a:ln w="12700">
            <a:miter lim="400000"/>
          </a:ln>
        </p:spPr>
        <p:txBody>
          <a:bodyPr lIns="15474" tIns="15474" rIns="15474" bIns="15474" anchor="ctr"/>
          <a:lstStyle/>
          <a:p>
            <a:pPr defTabSz="18568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e-DE" sz="1219" b="1" i="0" dirty="0">
              <a:latin typeface="Calibri" panose="020F0502020204030204" pitchFamily="34" charset="0"/>
            </a:endParaRPr>
          </a:p>
        </p:txBody>
      </p:sp>
      <p:sp>
        <p:nvSpPr>
          <p:cNvPr id="25" name="Shape 2865">
            <a:extLst>
              <a:ext uri="{FF2B5EF4-FFF2-40B4-BE49-F238E27FC236}">
                <a16:creationId xmlns:a16="http://schemas.microsoft.com/office/drawing/2014/main" id="{8E32ABC4-87E8-47B1-9175-BC6F9A08C1B4}"/>
              </a:ext>
            </a:extLst>
          </p:cNvPr>
          <p:cNvSpPr/>
          <p:nvPr/>
        </p:nvSpPr>
        <p:spPr>
          <a:xfrm>
            <a:off x="6404438" y="4112318"/>
            <a:ext cx="731948" cy="9008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13430" y="9320"/>
                </a:moveTo>
                <a:cubicBezTo>
                  <a:pt x="11975" y="9320"/>
                  <a:pt x="11780" y="10196"/>
                  <a:pt x="11780" y="10196"/>
                </a:cubicBezTo>
                <a:lnTo>
                  <a:pt x="11782" y="9327"/>
                </a:lnTo>
                <a:lnTo>
                  <a:pt x="9818" y="9327"/>
                </a:lnTo>
                <a:lnTo>
                  <a:pt x="9818" y="14727"/>
                </a:lnTo>
                <a:lnTo>
                  <a:pt x="11782" y="14727"/>
                </a:lnTo>
                <a:lnTo>
                  <a:pt x="11782" y="11782"/>
                </a:lnTo>
                <a:cubicBezTo>
                  <a:pt x="11782" y="11782"/>
                  <a:pt x="11782" y="10793"/>
                  <a:pt x="12616" y="10793"/>
                </a:cubicBezTo>
                <a:cubicBezTo>
                  <a:pt x="13086" y="10793"/>
                  <a:pt x="13255" y="11232"/>
                  <a:pt x="13255" y="11782"/>
                </a:cubicBezTo>
                <a:lnTo>
                  <a:pt x="13255" y="14727"/>
                </a:lnTo>
                <a:lnTo>
                  <a:pt x="15218" y="14727"/>
                </a:lnTo>
                <a:lnTo>
                  <a:pt x="15218" y="11782"/>
                </a:lnTo>
                <a:cubicBezTo>
                  <a:pt x="15218" y="10245"/>
                  <a:pt x="14550" y="9320"/>
                  <a:pt x="13430" y="9320"/>
                </a:cubicBezTo>
                <a:moveTo>
                  <a:pt x="6873" y="14727"/>
                </a:moveTo>
                <a:lnTo>
                  <a:pt x="8829" y="14727"/>
                </a:lnTo>
                <a:lnTo>
                  <a:pt x="8829" y="9320"/>
                </a:lnTo>
                <a:lnTo>
                  <a:pt x="6873" y="9320"/>
                </a:lnTo>
                <a:cubicBezTo>
                  <a:pt x="6873" y="9320"/>
                  <a:pt x="6873" y="14727"/>
                  <a:pt x="6873" y="14727"/>
                </a:cubicBezTo>
                <a:close/>
                <a:moveTo>
                  <a:pt x="7851" y="6873"/>
                </a:moveTo>
                <a:cubicBezTo>
                  <a:pt x="7311" y="6873"/>
                  <a:pt x="6873" y="7313"/>
                  <a:pt x="6873" y="7856"/>
                </a:cubicBezTo>
                <a:cubicBezTo>
                  <a:pt x="6873" y="8399"/>
                  <a:pt x="7311" y="8839"/>
                  <a:pt x="7851" y="8839"/>
                </a:cubicBezTo>
                <a:cubicBezTo>
                  <a:pt x="8391" y="8839"/>
                  <a:pt x="8829" y="8399"/>
                  <a:pt x="8829" y="7856"/>
                </a:cubicBezTo>
                <a:cubicBezTo>
                  <a:pt x="8829" y="7313"/>
                  <a:pt x="8391" y="6873"/>
                  <a:pt x="7851" y="6873"/>
                </a:cubicBezTo>
              </a:path>
            </a:pathLst>
          </a:custGeom>
          <a:solidFill>
            <a:schemeClr val="bg1">
              <a:alpha val="76000"/>
            </a:schemeClr>
          </a:solidFill>
          <a:ln w="12700">
            <a:miter lim="400000"/>
          </a:ln>
        </p:spPr>
        <p:txBody>
          <a:bodyPr lIns="15474" tIns="15474" rIns="15474" bIns="15474" anchor="ctr"/>
          <a:lstStyle/>
          <a:p>
            <a:pPr defTabSz="18568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e-DE" sz="1219" b="1" i="0" dirty="0">
              <a:latin typeface="Calibri" panose="020F0502020204030204" pitchFamily="34" charset="0"/>
            </a:endParaRPr>
          </a:p>
        </p:txBody>
      </p:sp>
      <p:sp>
        <p:nvSpPr>
          <p:cNvPr id="26" name="Shape 2860">
            <a:extLst>
              <a:ext uri="{FF2B5EF4-FFF2-40B4-BE49-F238E27FC236}">
                <a16:creationId xmlns:a16="http://schemas.microsoft.com/office/drawing/2014/main" id="{54A063A3-C4DE-4826-B3F0-2145E35D0CBA}"/>
              </a:ext>
            </a:extLst>
          </p:cNvPr>
          <p:cNvSpPr/>
          <p:nvPr/>
        </p:nvSpPr>
        <p:spPr>
          <a:xfrm>
            <a:off x="3699486" y="4112318"/>
            <a:ext cx="731948" cy="9008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4" y="7858"/>
                </a:lnTo>
                <a:lnTo>
                  <a:pt x="13244" y="6381"/>
                </a:lnTo>
                <a:lnTo>
                  <a:pt x="11938" y="6381"/>
                </a:lnTo>
                <a:cubicBezTo>
                  <a:pt x="10369" y="6381"/>
                  <a:pt x="9816" y="7120"/>
                  <a:pt x="9816" y="8363"/>
                </a:cubicBezTo>
                <a:lnTo>
                  <a:pt x="9816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6" y="10800"/>
                </a:lnTo>
                <a:lnTo>
                  <a:pt x="9816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>
              <a:alpha val="76000"/>
            </a:schemeClr>
          </a:solidFill>
          <a:ln w="12700">
            <a:miter lim="400000"/>
          </a:ln>
        </p:spPr>
        <p:txBody>
          <a:bodyPr lIns="15474" tIns="15474" rIns="15474" bIns="15474" anchor="ctr"/>
          <a:lstStyle/>
          <a:p>
            <a:pPr defTabSz="18568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de-DE" sz="1219" b="1" i="0" dirty="0">
              <a:latin typeface="Calibri" panose="020F0502020204030204" pitchFamily="34" charset="0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98255B84-09ED-4909-8047-42814949D8E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02787" y="4112318"/>
            <a:ext cx="731948" cy="900859"/>
          </a:xfrm>
          <a:prstGeom prst="rect">
            <a:avLst/>
          </a:prstGeom>
        </p:spPr>
      </p:pic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B972B13-50F0-4658-ACCD-D9DEE6EBC0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683617" y="2351089"/>
            <a:ext cx="8540056" cy="1328229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1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571E5615-1817-4151-8ABC-3D4029DA7A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2797672" y="5229200"/>
            <a:ext cx="732631" cy="576262"/>
          </a:xfrm>
        </p:spPr>
        <p:txBody>
          <a:bodyPr/>
          <a:lstStyle>
            <a:lvl1pPr marL="0" indent="0" algn="ctr">
              <a:buFontTx/>
              <a:buNone/>
              <a:defRPr sz="894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hier</a:t>
            </a:r>
          </a:p>
        </p:txBody>
      </p:sp>
      <p:sp>
        <p:nvSpPr>
          <p:cNvPr id="39" name="Textplatzhalter 37">
            <a:extLst>
              <a:ext uri="{FF2B5EF4-FFF2-40B4-BE49-F238E27FC236}">
                <a16:creationId xmlns:a16="http://schemas.microsoft.com/office/drawing/2014/main" id="{41388F69-7CF0-43AE-A5F6-86148750BC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3699486" y="5229200"/>
            <a:ext cx="732631" cy="576262"/>
          </a:xfrm>
        </p:spPr>
        <p:txBody>
          <a:bodyPr/>
          <a:lstStyle>
            <a:lvl1pPr marL="0" indent="0" algn="ctr">
              <a:buFontTx/>
              <a:buNone/>
              <a:defRPr sz="894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hier</a:t>
            </a:r>
          </a:p>
        </p:txBody>
      </p:sp>
      <p:sp>
        <p:nvSpPr>
          <p:cNvPr id="40" name="Textplatzhalter 37">
            <a:extLst>
              <a:ext uri="{FF2B5EF4-FFF2-40B4-BE49-F238E27FC236}">
                <a16:creationId xmlns:a16="http://schemas.microsoft.com/office/drawing/2014/main" id="{7C3D7B73-29AA-4A30-AAB1-14646A2133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white">
          <a:xfrm>
            <a:off x="4586684" y="5229200"/>
            <a:ext cx="732631" cy="576262"/>
          </a:xfrm>
        </p:spPr>
        <p:txBody>
          <a:bodyPr/>
          <a:lstStyle>
            <a:lvl1pPr marL="0" indent="0" algn="ctr">
              <a:buFontTx/>
              <a:buNone/>
              <a:defRPr sz="894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hier</a:t>
            </a:r>
          </a:p>
        </p:txBody>
      </p:sp>
      <p:sp>
        <p:nvSpPr>
          <p:cNvPr id="41" name="Textplatzhalter 37">
            <a:extLst>
              <a:ext uri="{FF2B5EF4-FFF2-40B4-BE49-F238E27FC236}">
                <a16:creationId xmlns:a16="http://schemas.microsoft.com/office/drawing/2014/main" id="{FBEE3B82-1ECE-422E-9013-76270BA17D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475672" y="5229200"/>
            <a:ext cx="732631" cy="576262"/>
          </a:xfrm>
        </p:spPr>
        <p:txBody>
          <a:bodyPr/>
          <a:lstStyle>
            <a:lvl1pPr marL="0" indent="0" algn="ctr">
              <a:buFontTx/>
              <a:buNone/>
              <a:defRPr sz="894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hier</a:t>
            </a:r>
          </a:p>
        </p:txBody>
      </p:sp>
      <p:sp>
        <p:nvSpPr>
          <p:cNvPr id="42" name="Textplatzhalter 37">
            <a:extLst>
              <a:ext uri="{FF2B5EF4-FFF2-40B4-BE49-F238E27FC236}">
                <a16:creationId xmlns:a16="http://schemas.microsoft.com/office/drawing/2014/main" id="{ED97CB27-482B-4133-8490-277D30AA8D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white">
          <a:xfrm>
            <a:off x="6404438" y="5223211"/>
            <a:ext cx="732631" cy="576262"/>
          </a:xfrm>
        </p:spPr>
        <p:txBody>
          <a:bodyPr/>
          <a:lstStyle>
            <a:lvl1pPr marL="0" indent="0" algn="ctr">
              <a:buFontTx/>
              <a:buNone/>
              <a:defRPr sz="894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hier</a:t>
            </a:r>
          </a:p>
        </p:txBody>
      </p:sp>
    </p:spTree>
    <p:extLst>
      <p:ext uri="{BB962C8B-B14F-4D97-AF65-F5344CB8AC3E}">
        <p14:creationId xmlns:p14="http://schemas.microsoft.com/office/powerpoint/2010/main" val="4166806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ote Folie, Bild rund rechts">
    <p:bg bwMode="invGray">
      <p:bgPr>
        <a:solidFill>
          <a:srgbClr val="A014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7D191C6D-ADCC-426B-B5FF-3E25A2BDDEC5}"/>
              </a:ext>
            </a:extLst>
          </p:cNvPr>
          <p:cNvSpPr/>
          <p:nvPr/>
        </p:nvSpPr>
        <p:spPr>
          <a:xfrm>
            <a:off x="5128521" y="-18000"/>
            <a:ext cx="4792105" cy="6894000"/>
          </a:xfrm>
          <a:custGeom>
            <a:avLst/>
            <a:gdLst>
              <a:gd name="connsiteX0" fmla="*/ 1143851 w 5897975"/>
              <a:gd name="connsiteY0" fmla="*/ 0 h 6894000"/>
              <a:gd name="connsiteX1" fmla="*/ 5897975 w 5897975"/>
              <a:gd name="connsiteY1" fmla="*/ 0 h 6894000"/>
              <a:gd name="connsiteX2" fmla="*/ 5897975 w 5897975"/>
              <a:gd name="connsiteY2" fmla="*/ 6894000 h 6894000"/>
              <a:gd name="connsiteX3" fmla="*/ 1146456 w 5897975"/>
              <a:gd name="connsiteY3" fmla="*/ 6894000 h 6894000"/>
              <a:gd name="connsiteX4" fmla="*/ 1144103 w 5897975"/>
              <a:gd name="connsiteY4" fmla="*/ 6891006 h 6894000"/>
              <a:gd name="connsiteX5" fmla="*/ 0 w 5897975"/>
              <a:gd name="connsiteY5" fmla="*/ 3445325 h 6894000"/>
              <a:gd name="connsiteX6" fmla="*/ 983542 w 5897975"/>
              <a:gd name="connsiteY6" fmla="*/ 225433 h 689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97975" h="6894000">
                <a:moveTo>
                  <a:pt x="1143851" y="0"/>
                </a:moveTo>
                <a:lnTo>
                  <a:pt x="5897975" y="0"/>
                </a:lnTo>
                <a:lnTo>
                  <a:pt x="5897975" y="6894000"/>
                </a:lnTo>
                <a:lnTo>
                  <a:pt x="1146456" y="6894000"/>
                </a:lnTo>
                <a:lnTo>
                  <a:pt x="1144103" y="6891006"/>
                </a:lnTo>
                <a:cubicBezTo>
                  <a:pt x="425533" y="5930165"/>
                  <a:pt x="0" y="4737440"/>
                  <a:pt x="0" y="3445325"/>
                </a:cubicBezTo>
                <a:cubicBezTo>
                  <a:pt x="0" y="2252604"/>
                  <a:pt x="362587" y="1144570"/>
                  <a:pt x="983542" y="225433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4" name="Freihandform 23">
            <a:extLst>
              <a:ext uri="{FF2B5EF4-FFF2-40B4-BE49-F238E27FC236}">
                <a16:creationId xmlns:a16="http://schemas.microsoft.com/office/drawing/2014/main" id="{CD9933A0-5E36-441A-B282-4BAF114102D1}"/>
              </a:ext>
            </a:extLst>
          </p:cNvPr>
          <p:cNvSpPr/>
          <p:nvPr/>
        </p:nvSpPr>
        <p:spPr bwMode="white">
          <a:xfrm rot="10800000" flipH="1">
            <a:off x="0" y="2087918"/>
            <a:ext cx="3490338" cy="477008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5" name="Oval 24">
            <a:extLst>
              <a:ext uri="{FF2B5EF4-FFF2-40B4-BE49-F238E27FC236}">
                <a16:creationId xmlns:a16="http://schemas.microsoft.com/office/drawing/2014/main" id="{E7EBF26C-49B3-451D-84F8-4E6638CD518C}"/>
              </a:ext>
            </a:extLst>
          </p:cNvPr>
          <p:cNvSpPr/>
          <p:nvPr/>
        </p:nvSpPr>
        <p:spPr bwMode="white">
          <a:xfrm rot="10800000">
            <a:off x="4668402" y="445403"/>
            <a:ext cx="519630" cy="639544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4" name="Oval 22">
            <a:extLst>
              <a:ext uri="{FF2B5EF4-FFF2-40B4-BE49-F238E27FC236}">
                <a16:creationId xmlns:a16="http://schemas.microsoft.com/office/drawing/2014/main" id="{B6B4683F-6753-4ADC-A683-0D363D807977}"/>
              </a:ext>
            </a:extLst>
          </p:cNvPr>
          <p:cNvSpPr/>
          <p:nvPr/>
        </p:nvSpPr>
        <p:spPr bwMode="white">
          <a:xfrm rot="10800000">
            <a:off x="2417714" y="2489173"/>
            <a:ext cx="1634339" cy="2011494"/>
          </a:xfrm>
          <a:prstGeom prst="ellipse">
            <a:avLst/>
          </a:prstGeom>
          <a:solidFill>
            <a:srgbClr val="631441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grpSp>
        <p:nvGrpSpPr>
          <p:cNvPr id="30" name="Group 698">
            <a:extLst>
              <a:ext uri="{FF2B5EF4-FFF2-40B4-BE49-F238E27FC236}">
                <a16:creationId xmlns:a16="http://schemas.microsoft.com/office/drawing/2014/main" id="{AA97F0D4-6565-40B3-B264-5801F1FC582D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685800" y="524210"/>
            <a:ext cx="721585" cy="278730"/>
            <a:chOff x="561" y="2269"/>
            <a:chExt cx="4636" cy="1455"/>
          </a:xfrm>
        </p:grpSpPr>
        <p:sp>
          <p:nvSpPr>
            <p:cNvPr id="31" name="AutoShape 697">
              <a:extLst>
                <a:ext uri="{FF2B5EF4-FFF2-40B4-BE49-F238E27FC236}">
                  <a16:creationId xmlns:a16="http://schemas.microsoft.com/office/drawing/2014/main" id="{67A31F69-5CC5-4CB4-9C78-116F41C222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2" name="Oval 699">
              <a:extLst>
                <a:ext uri="{FF2B5EF4-FFF2-40B4-BE49-F238E27FC236}">
                  <a16:creationId xmlns:a16="http://schemas.microsoft.com/office/drawing/2014/main" id="{AEC0D84B-AA0D-42C1-8C21-66FE36543148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3" name="Freeform 700">
              <a:extLst>
                <a:ext uri="{FF2B5EF4-FFF2-40B4-BE49-F238E27FC236}">
                  <a16:creationId xmlns:a16="http://schemas.microsoft.com/office/drawing/2014/main" id="{ACEB259A-1FB2-446D-8BED-6EA9D13639A5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4" name="Freeform 701">
              <a:extLst>
                <a:ext uri="{FF2B5EF4-FFF2-40B4-BE49-F238E27FC236}">
                  <a16:creationId xmlns:a16="http://schemas.microsoft.com/office/drawing/2014/main" id="{C6412350-0479-456B-BA51-D4F87F0981CB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5" name="Freeform 702">
              <a:extLst>
                <a:ext uri="{FF2B5EF4-FFF2-40B4-BE49-F238E27FC236}">
                  <a16:creationId xmlns:a16="http://schemas.microsoft.com/office/drawing/2014/main" id="{4964E71A-07A7-4F64-B1BF-8C264CD95261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pic>
        <p:nvPicPr>
          <p:cNvPr id="2" name="Grafik 1">
            <a:extLst>
              <a:ext uri="{FF2B5EF4-FFF2-40B4-BE49-F238E27FC236}">
                <a16:creationId xmlns:a16="http://schemas.microsoft.com/office/drawing/2014/main" id="{0C078EE0-2DF1-44AB-9D36-9591ADC2BDD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9520310">
            <a:off x="-741540" y="3841691"/>
            <a:ext cx="7045349" cy="8057577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C350885-EA58-4E93-84C8-2C045011A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8E96CF26-2AB9-4E13-8173-1D73FE403FB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white">
          <a:xfrm>
            <a:off x="5352850" y="2"/>
            <a:ext cx="4553151" cy="6857999"/>
          </a:xfrm>
          <a:custGeom>
            <a:avLst/>
            <a:gdLst>
              <a:gd name="connsiteX0" fmla="*/ 1210347 w 5603878"/>
              <a:gd name="connsiteY0" fmla="*/ 0 h 6857999"/>
              <a:gd name="connsiteX1" fmla="*/ 5603878 w 5603878"/>
              <a:gd name="connsiteY1" fmla="*/ 0 h 6857999"/>
              <a:gd name="connsiteX2" fmla="*/ 5603878 w 5603878"/>
              <a:gd name="connsiteY2" fmla="*/ 6857999 h 6857999"/>
              <a:gd name="connsiteX3" fmla="*/ 1158139 w 5603878"/>
              <a:gd name="connsiteY3" fmla="*/ 6857999 h 6857999"/>
              <a:gd name="connsiteX4" fmla="*/ 1105140 w 5603878"/>
              <a:gd name="connsiteY4" fmla="*/ 6790558 h 6857999"/>
              <a:gd name="connsiteX5" fmla="*/ 0 w 5603878"/>
              <a:gd name="connsiteY5" fmla="*/ 3462217 h 6857999"/>
              <a:gd name="connsiteX6" fmla="*/ 1105141 w 5603878"/>
              <a:gd name="connsiteY6" fmla="*/ 13387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03878" h="6857999">
                <a:moveTo>
                  <a:pt x="1210347" y="0"/>
                </a:moveTo>
                <a:lnTo>
                  <a:pt x="5603878" y="0"/>
                </a:lnTo>
                <a:lnTo>
                  <a:pt x="5603878" y="6857999"/>
                </a:lnTo>
                <a:lnTo>
                  <a:pt x="1158139" y="6857999"/>
                </a:lnTo>
                <a:lnTo>
                  <a:pt x="1105140" y="6790558"/>
                </a:lnTo>
                <a:cubicBezTo>
                  <a:pt x="411041" y="5862437"/>
                  <a:pt x="0" y="4710329"/>
                  <a:pt x="0" y="3462217"/>
                </a:cubicBezTo>
                <a:cubicBezTo>
                  <a:pt x="0" y="2214104"/>
                  <a:pt x="411042" y="1061997"/>
                  <a:pt x="1105141" y="13387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>
                <a:latin typeface="Calibri" panose="020F0502020204030204" pitchFamily="34" charset="0"/>
              </a:defRPr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QuickSlide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sp>
        <p:nvSpPr>
          <p:cNvPr id="16" name="Oval 34">
            <a:extLst>
              <a:ext uri="{FF2B5EF4-FFF2-40B4-BE49-F238E27FC236}">
                <a16:creationId xmlns:a16="http://schemas.microsoft.com/office/drawing/2014/main" id="{2C4383E1-96F4-4154-B069-3E21DE478B14}"/>
              </a:ext>
            </a:extLst>
          </p:cNvPr>
          <p:cNvSpPr/>
          <p:nvPr/>
        </p:nvSpPr>
        <p:spPr bwMode="white">
          <a:xfrm>
            <a:off x="5560529" y="670323"/>
            <a:ext cx="175520" cy="216024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A00A1734-D132-4CA4-AFFB-50875BC65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18" y="1270001"/>
            <a:ext cx="4269383" cy="2088809"/>
          </a:xfrm>
        </p:spPr>
        <p:txBody>
          <a:bodyPr anchor="b" anchorCtr="0"/>
          <a:lstStyle>
            <a:lvl1pPr>
              <a:defRPr sz="3575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B6DECA1-6CCC-447E-8310-2FFCBBD66E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BC03751E-F666-41F8-856E-9658260BAC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83618" y="3423600"/>
            <a:ext cx="4269383" cy="1872000"/>
          </a:xfrm>
        </p:spPr>
        <p:txBody>
          <a:bodyPr/>
          <a:lstStyle>
            <a:lvl1pPr>
              <a:defRPr sz="1625"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19244239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ue Folie, Bild rund rechts">
    <p:bg bwMode="invGray"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D258586D-5458-4E7D-AB2C-E5EFE1CD85BF}"/>
              </a:ext>
            </a:extLst>
          </p:cNvPr>
          <p:cNvSpPr/>
          <p:nvPr/>
        </p:nvSpPr>
        <p:spPr>
          <a:xfrm>
            <a:off x="5128521" y="-18000"/>
            <a:ext cx="4792105" cy="6894000"/>
          </a:xfrm>
          <a:custGeom>
            <a:avLst/>
            <a:gdLst>
              <a:gd name="connsiteX0" fmla="*/ 1143851 w 5897975"/>
              <a:gd name="connsiteY0" fmla="*/ 0 h 6894000"/>
              <a:gd name="connsiteX1" fmla="*/ 5897975 w 5897975"/>
              <a:gd name="connsiteY1" fmla="*/ 0 h 6894000"/>
              <a:gd name="connsiteX2" fmla="*/ 5897975 w 5897975"/>
              <a:gd name="connsiteY2" fmla="*/ 6894000 h 6894000"/>
              <a:gd name="connsiteX3" fmla="*/ 1146456 w 5897975"/>
              <a:gd name="connsiteY3" fmla="*/ 6894000 h 6894000"/>
              <a:gd name="connsiteX4" fmla="*/ 1144103 w 5897975"/>
              <a:gd name="connsiteY4" fmla="*/ 6891006 h 6894000"/>
              <a:gd name="connsiteX5" fmla="*/ 0 w 5897975"/>
              <a:gd name="connsiteY5" fmla="*/ 3445325 h 6894000"/>
              <a:gd name="connsiteX6" fmla="*/ 983542 w 5897975"/>
              <a:gd name="connsiteY6" fmla="*/ 225433 h 689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97975" h="6894000">
                <a:moveTo>
                  <a:pt x="1143851" y="0"/>
                </a:moveTo>
                <a:lnTo>
                  <a:pt x="5897975" y="0"/>
                </a:lnTo>
                <a:lnTo>
                  <a:pt x="5897975" y="6894000"/>
                </a:lnTo>
                <a:lnTo>
                  <a:pt x="1146456" y="6894000"/>
                </a:lnTo>
                <a:lnTo>
                  <a:pt x="1144103" y="6891006"/>
                </a:lnTo>
                <a:cubicBezTo>
                  <a:pt x="425533" y="5930165"/>
                  <a:pt x="0" y="4737440"/>
                  <a:pt x="0" y="3445325"/>
                </a:cubicBezTo>
                <a:cubicBezTo>
                  <a:pt x="0" y="2252604"/>
                  <a:pt x="362587" y="1144570"/>
                  <a:pt x="983542" y="225433"/>
                </a:cubicBezTo>
                <a:close/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4" name="Freihandform 23">
            <a:extLst>
              <a:ext uri="{FF2B5EF4-FFF2-40B4-BE49-F238E27FC236}">
                <a16:creationId xmlns:a16="http://schemas.microsoft.com/office/drawing/2014/main" id="{CD9933A0-5E36-441A-B282-4BAF114102D1}"/>
              </a:ext>
            </a:extLst>
          </p:cNvPr>
          <p:cNvSpPr/>
          <p:nvPr/>
        </p:nvSpPr>
        <p:spPr bwMode="white">
          <a:xfrm rot="10800000" flipH="1">
            <a:off x="0" y="2087918"/>
            <a:ext cx="3490338" cy="4770082"/>
          </a:xfrm>
          <a:custGeom>
            <a:avLst/>
            <a:gdLst>
              <a:gd name="connsiteX0" fmla="*/ 0 w 5562328"/>
              <a:gd name="connsiteY0" fmla="*/ 0 h 6147385"/>
              <a:gd name="connsiteX1" fmla="*/ 4578774 w 5562328"/>
              <a:gd name="connsiteY1" fmla="*/ 0 h 6147385"/>
              <a:gd name="connsiteX2" fmla="*/ 4727110 w 5562328"/>
              <a:gd name="connsiteY2" fmla="*/ 163212 h 6147385"/>
              <a:gd name="connsiteX3" fmla="*/ 5562328 w 5562328"/>
              <a:gd name="connsiteY3" fmla="*/ 2489785 h 6147385"/>
              <a:gd name="connsiteX4" fmla="*/ 1904728 w 5562328"/>
              <a:gd name="connsiteY4" fmla="*/ 6147385 h 6147385"/>
              <a:gd name="connsiteX5" fmla="*/ 161299 w 5562328"/>
              <a:gd name="connsiteY5" fmla="*/ 5705932 h 6147385"/>
              <a:gd name="connsiteX6" fmla="*/ 0 w 5562328"/>
              <a:gd name="connsiteY6" fmla="*/ 5607941 h 6147385"/>
              <a:gd name="connsiteX7" fmla="*/ 0 w 5562328"/>
              <a:gd name="connsiteY7" fmla="*/ 0 h 6147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62328" h="6147385">
                <a:moveTo>
                  <a:pt x="0" y="0"/>
                </a:moveTo>
                <a:lnTo>
                  <a:pt x="4578774" y="0"/>
                </a:lnTo>
                <a:lnTo>
                  <a:pt x="4727110" y="163212"/>
                </a:lnTo>
                <a:cubicBezTo>
                  <a:pt x="5248888" y="795461"/>
                  <a:pt x="5562328" y="1606019"/>
                  <a:pt x="5562328" y="2489785"/>
                </a:cubicBezTo>
                <a:cubicBezTo>
                  <a:pt x="5562328" y="4509822"/>
                  <a:pt x="3924765" y="6147385"/>
                  <a:pt x="1904728" y="6147385"/>
                </a:cubicBezTo>
                <a:cubicBezTo>
                  <a:pt x="1273467" y="6147385"/>
                  <a:pt x="679556" y="5987467"/>
                  <a:pt x="161299" y="5705932"/>
                </a:cubicBezTo>
                <a:lnTo>
                  <a:pt x="0" y="560794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85000"/>
              <a:lumOff val="1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15" name="Oval 24">
            <a:extLst>
              <a:ext uri="{FF2B5EF4-FFF2-40B4-BE49-F238E27FC236}">
                <a16:creationId xmlns:a16="http://schemas.microsoft.com/office/drawing/2014/main" id="{E7EBF26C-49B3-451D-84F8-4E6638CD518C}"/>
              </a:ext>
            </a:extLst>
          </p:cNvPr>
          <p:cNvSpPr/>
          <p:nvPr/>
        </p:nvSpPr>
        <p:spPr bwMode="white">
          <a:xfrm rot="10800000">
            <a:off x="4668402" y="445403"/>
            <a:ext cx="519630" cy="639544"/>
          </a:xfrm>
          <a:prstGeom prst="ellipse">
            <a:avLst/>
          </a:prstGeom>
          <a:solidFill>
            <a:schemeClr val="tx1">
              <a:lumMod val="85000"/>
              <a:lumOff val="1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4" name="Oval 22">
            <a:extLst>
              <a:ext uri="{FF2B5EF4-FFF2-40B4-BE49-F238E27FC236}">
                <a16:creationId xmlns:a16="http://schemas.microsoft.com/office/drawing/2014/main" id="{B6B4683F-6753-4ADC-A683-0D363D807977}"/>
              </a:ext>
            </a:extLst>
          </p:cNvPr>
          <p:cNvSpPr/>
          <p:nvPr/>
        </p:nvSpPr>
        <p:spPr bwMode="white">
          <a:xfrm rot="10800000">
            <a:off x="2417714" y="2489173"/>
            <a:ext cx="1634339" cy="2011494"/>
          </a:xfrm>
          <a:prstGeom prst="ellipse">
            <a:avLst/>
          </a:prstGeom>
          <a:solidFill>
            <a:schemeClr val="tx1">
              <a:lumMod val="85000"/>
              <a:lumOff val="1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0BAD37E-0AAD-48C2-B878-F1C09777C16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9520310">
            <a:off x="-741540" y="3841691"/>
            <a:ext cx="7045349" cy="8057577"/>
          </a:xfrm>
          <a:prstGeom prst="rect">
            <a:avLst/>
          </a:prstGeom>
        </p:spPr>
      </p:pic>
      <p:sp>
        <p:nvSpPr>
          <p:cNvPr id="16" name="Oval 34">
            <a:extLst>
              <a:ext uri="{FF2B5EF4-FFF2-40B4-BE49-F238E27FC236}">
                <a16:creationId xmlns:a16="http://schemas.microsoft.com/office/drawing/2014/main" id="{2C4383E1-96F4-4154-B069-3E21DE478B14}"/>
              </a:ext>
            </a:extLst>
          </p:cNvPr>
          <p:cNvSpPr/>
          <p:nvPr/>
        </p:nvSpPr>
        <p:spPr bwMode="white">
          <a:xfrm>
            <a:off x="5560529" y="670323"/>
            <a:ext cx="175520" cy="216024"/>
          </a:xfrm>
          <a:prstGeom prst="ellipse">
            <a:avLst/>
          </a:prstGeom>
          <a:solidFill>
            <a:srgbClr val="A014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DC6A33B-2F7E-4227-A8BF-358811E121A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52939448-F9BF-4B69-9233-9274D075FE7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white">
          <a:xfrm>
            <a:off x="5352848" y="1"/>
            <a:ext cx="4553151" cy="6857999"/>
          </a:xfrm>
          <a:custGeom>
            <a:avLst/>
            <a:gdLst>
              <a:gd name="connsiteX0" fmla="*/ 1210347 w 5603878"/>
              <a:gd name="connsiteY0" fmla="*/ 0 h 6857999"/>
              <a:gd name="connsiteX1" fmla="*/ 5603878 w 5603878"/>
              <a:gd name="connsiteY1" fmla="*/ 0 h 6857999"/>
              <a:gd name="connsiteX2" fmla="*/ 5603878 w 5603878"/>
              <a:gd name="connsiteY2" fmla="*/ 6857999 h 6857999"/>
              <a:gd name="connsiteX3" fmla="*/ 1158141 w 5603878"/>
              <a:gd name="connsiteY3" fmla="*/ 6857999 h 6857999"/>
              <a:gd name="connsiteX4" fmla="*/ 1105142 w 5603878"/>
              <a:gd name="connsiteY4" fmla="*/ 6790558 h 6857999"/>
              <a:gd name="connsiteX5" fmla="*/ 0 w 5603878"/>
              <a:gd name="connsiteY5" fmla="*/ 3462217 h 6857999"/>
              <a:gd name="connsiteX6" fmla="*/ 1105142 w 5603878"/>
              <a:gd name="connsiteY6" fmla="*/ 13387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03878" h="6857999">
                <a:moveTo>
                  <a:pt x="1210347" y="0"/>
                </a:moveTo>
                <a:lnTo>
                  <a:pt x="5603878" y="0"/>
                </a:lnTo>
                <a:lnTo>
                  <a:pt x="5603878" y="6857999"/>
                </a:lnTo>
                <a:lnTo>
                  <a:pt x="1158141" y="6857999"/>
                </a:lnTo>
                <a:lnTo>
                  <a:pt x="1105142" y="6790558"/>
                </a:lnTo>
                <a:cubicBezTo>
                  <a:pt x="411043" y="5862437"/>
                  <a:pt x="0" y="4710329"/>
                  <a:pt x="0" y="3462217"/>
                </a:cubicBezTo>
                <a:cubicBezTo>
                  <a:pt x="0" y="2214105"/>
                  <a:pt x="411043" y="1061997"/>
                  <a:pt x="1105142" y="13387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marL="6450" algn="ctr">
              <a:defRPr lang="de-DE" sz="975" b="0" i="0" dirty="0">
                <a:latin typeface="Calibri" panose="020F0502020204030204" pitchFamily="34" charset="0"/>
              </a:defRPr>
            </a:lvl1pPr>
          </a:lstStyle>
          <a:p>
            <a:pPr marL="6450" lvl="0" algn="ctr"/>
            <a:r>
              <a:rPr lang="de-DE" dirty="0"/>
              <a:t>Bild durch Klicken auf das Symbol hinzufügen.</a:t>
            </a:r>
            <a:br>
              <a:rPr lang="de-DE" dirty="0"/>
            </a:br>
            <a:r>
              <a:rPr lang="de-DE" dirty="0"/>
              <a:t>Alternativ den Rahmen des Bildplatzhalters markieren (Klick auf die graue Fläche)</a:t>
            </a:r>
            <a:br>
              <a:rPr lang="de-DE" dirty="0"/>
            </a:br>
            <a:r>
              <a:rPr lang="de-DE" dirty="0"/>
              <a:t>und ein Bild aus den </a:t>
            </a:r>
            <a:r>
              <a:rPr lang="de-DE" noProof="1"/>
              <a:t>QuickSlide</a:t>
            </a:r>
            <a:r>
              <a:rPr lang="de-DE" dirty="0"/>
              <a:t>-Elementen hinzufügen.</a:t>
            </a:r>
            <a:br>
              <a:rPr lang="de-DE" dirty="0"/>
            </a:br>
            <a:r>
              <a:rPr lang="de-DE" dirty="0"/>
              <a:t>Anschließend die Folie zurücksetzen (Folie &gt; Zurücksetzen).</a:t>
            </a:r>
            <a:br>
              <a:rPr lang="de-DE" dirty="0"/>
            </a:br>
            <a:r>
              <a:rPr lang="de-DE" dirty="0"/>
              <a:t>Hierbei werden alle Platzhalter auf der Folie zurückgesetzt!</a:t>
            </a:r>
          </a:p>
        </p:txBody>
      </p:sp>
      <p:grpSp>
        <p:nvGrpSpPr>
          <p:cNvPr id="26" name="Group 698">
            <a:extLst>
              <a:ext uri="{FF2B5EF4-FFF2-40B4-BE49-F238E27FC236}">
                <a16:creationId xmlns:a16="http://schemas.microsoft.com/office/drawing/2014/main" id="{CC28539B-349E-4682-AE8F-89ADD66453B5}"/>
              </a:ext>
            </a:extLst>
          </p:cNvPr>
          <p:cNvGrpSpPr>
            <a:grpSpLocks noChangeAspect="1"/>
          </p:cNvGrpSpPr>
          <p:nvPr/>
        </p:nvGrpSpPr>
        <p:grpSpPr bwMode="white">
          <a:xfrm>
            <a:off x="685800" y="524210"/>
            <a:ext cx="721585" cy="278730"/>
            <a:chOff x="561" y="2269"/>
            <a:chExt cx="4636" cy="1455"/>
          </a:xfrm>
        </p:grpSpPr>
        <p:sp>
          <p:nvSpPr>
            <p:cNvPr id="29" name="AutoShape 697">
              <a:extLst>
                <a:ext uri="{FF2B5EF4-FFF2-40B4-BE49-F238E27FC236}">
                  <a16:creationId xmlns:a16="http://schemas.microsoft.com/office/drawing/2014/main" id="{B362396A-AA3D-421B-9226-36FA87D83D2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white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6" name="Oval 699">
              <a:extLst>
                <a:ext uri="{FF2B5EF4-FFF2-40B4-BE49-F238E27FC236}">
                  <a16:creationId xmlns:a16="http://schemas.microsoft.com/office/drawing/2014/main" id="{0809B540-9A0E-4BB0-85B2-F32BD602D0F0}"/>
                </a:ext>
              </a:extLst>
            </p:cNvPr>
            <p:cNvSpPr>
              <a:spLocks noChangeArrowheads="1"/>
            </p:cNvSpPr>
            <p:nvPr/>
          </p:nvSpPr>
          <p:spPr bwMode="white">
            <a:xfrm>
              <a:off x="561" y="2905"/>
              <a:ext cx="483" cy="4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7" name="Freeform 700">
              <a:extLst>
                <a:ext uri="{FF2B5EF4-FFF2-40B4-BE49-F238E27FC236}">
                  <a16:creationId xmlns:a16="http://schemas.microsoft.com/office/drawing/2014/main" id="{7C3ABD22-2B92-4F82-B5E4-F1D820CD2C4D}"/>
                </a:ext>
              </a:extLst>
            </p:cNvPr>
            <p:cNvSpPr>
              <a:spLocks/>
            </p:cNvSpPr>
            <p:nvPr/>
          </p:nvSpPr>
          <p:spPr bwMode="white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39" name="Freeform 701">
              <a:extLst>
                <a:ext uri="{FF2B5EF4-FFF2-40B4-BE49-F238E27FC236}">
                  <a16:creationId xmlns:a16="http://schemas.microsoft.com/office/drawing/2014/main" id="{6D622CB6-FBBC-4522-9324-B83B5A053939}"/>
                </a:ext>
              </a:extLst>
            </p:cNvPr>
            <p:cNvSpPr>
              <a:spLocks/>
            </p:cNvSpPr>
            <p:nvPr/>
          </p:nvSpPr>
          <p:spPr bwMode="white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40" name="Freeform 702">
              <a:extLst>
                <a:ext uri="{FF2B5EF4-FFF2-40B4-BE49-F238E27FC236}">
                  <a16:creationId xmlns:a16="http://schemas.microsoft.com/office/drawing/2014/main" id="{13D92684-72B6-4673-893E-B6B76C117D0F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28" name="Titel 18">
            <a:extLst>
              <a:ext uri="{FF2B5EF4-FFF2-40B4-BE49-F238E27FC236}">
                <a16:creationId xmlns:a16="http://schemas.microsoft.com/office/drawing/2014/main" id="{988D6D18-E1C7-433B-906C-1DFD6AB3E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18" y="1270001"/>
            <a:ext cx="4269383" cy="2088809"/>
          </a:xfrm>
        </p:spPr>
        <p:txBody>
          <a:bodyPr anchor="b" anchorCtr="0"/>
          <a:lstStyle>
            <a:lvl1pPr>
              <a:defRPr sz="3575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4AEA5C50-176E-4B3A-B28E-B0E8F95DD03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83618" y="3423600"/>
            <a:ext cx="4269383" cy="1872000"/>
          </a:xfrm>
        </p:spPr>
        <p:txBody>
          <a:bodyPr/>
          <a:lstStyle>
            <a:lvl1pPr>
              <a:defRPr sz="1625"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CE6F457-34D0-40E0-A0D3-A975F1FAFF1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1249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41F1840-D1EB-40B1-96CC-BBA80AAAA4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617" y="1847675"/>
            <a:ext cx="8540056" cy="4461050"/>
          </a:xfrm>
        </p:spPr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BF0B54F-2072-4CD1-B810-4CD894788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2A1C4D-F8D7-43D1-8609-E81C05FD9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86CDE3B-773E-47EF-B194-C2A6E1E36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5330B51B-4D4E-409D-84CD-D10F6059A9A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13022383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chtungspfeil 6">
            <a:extLst>
              <a:ext uri="{FF2B5EF4-FFF2-40B4-BE49-F238E27FC236}">
                <a16:creationId xmlns:a16="http://schemas.microsoft.com/office/drawing/2014/main" id="{AE4C8F95-27A7-4CAE-8736-C4A9B0DF0030}"/>
              </a:ext>
            </a:extLst>
          </p:cNvPr>
          <p:cNvSpPr/>
          <p:nvPr/>
        </p:nvSpPr>
        <p:spPr>
          <a:xfrm rot="10800000">
            <a:off x="6983535" y="1267256"/>
            <a:ext cx="2922461" cy="5590745"/>
          </a:xfrm>
          <a:prstGeom prst="homePlate">
            <a:avLst>
              <a:gd name="adj" fmla="val 30873"/>
            </a:avLst>
          </a:prstGeom>
          <a:solidFill>
            <a:schemeClr val="bg1">
              <a:lumMod val="8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60FBEB0-8DA4-4C67-957D-10B82E30A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1FBD48F5-6FEB-4E6C-9FD4-86A3248A7BB1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78E929A1-A4D5-4A08-8AC4-220EC713414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83617" y="1847675"/>
            <a:ext cx="5380711" cy="4461050"/>
          </a:xfrm>
        </p:spPr>
        <p:txBody>
          <a:bodyPr/>
          <a:lstStyle>
            <a:lvl4pPr marL="661050" indent="0"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A0CB33C-D576-4CB5-BB5B-9DA3AC2042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3D72423-6668-45F7-9F25-61AB88EBF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8625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chtungspfeil 6">
            <a:extLst>
              <a:ext uri="{FF2B5EF4-FFF2-40B4-BE49-F238E27FC236}">
                <a16:creationId xmlns:a16="http://schemas.microsoft.com/office/drawing/2014/main" id="{C47F5986-0C06-4670-8FDB-8FCCFABF818E}"/>
              </a:ext>
            </a:extLst>
          </p:cNvPr>
          <p:cNvSpPr/>
          <p:nvPr/>
        </p:nvSpPr>
        <p:spPr>
          <a:xfrm>
            <a:off x="0" y="1267256"/>
            <a:ext cx="2922461" cy="5590745"/>
          </a:xfrm>
          <a:prstGeom prst="homePlate">
            <a:avLst>
              <a:gd name="adj" fmla="val 30873"/>
            </a:avLst>
          </a:prstGeom>
          <a:solidFill>
            <a:schemeClr val="bg1">
              <a:lumMod val="85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63" b="1" i="0" dirty="0">
              <a:latin typeface="Calibri" panose="020F050202020403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C93709-4C23-4D0F-AAAA-D62F94420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3F2C8DCF-C749-46DB-A7B4-0C686B175448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C0E3B0E9-B6C6-4147-A1ED-84BBDDCA743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198171" y="1847675"/>
            <a:ext cx="6025502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AEF094B-A47A-4A6D-8C74-859E8B29B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B71D8909-B5A6-4ABE-B623-020A13149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3299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, 2 Text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F9B9718-8E0F-4ECA-9BE5-CF83642D48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99B717-3839-4732-A74D-2B5CBA3C8C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62319CB-9216-40DB-BEFF-180AE7B82F4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83617" y="198000"/>
            <a:ext cx="6078007" cy="216000"/>
          </a:xfrm>
        </p:spPr>
        <p:txBody>
          <a:bodyPr anchor="b"/>
          <a:lstStyle>
            <a:lvl1pPr marL="0" indent="0">
              <a:buNone/>
              <a:defRPr sz="1138" b="0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8023EBF5-D6B4-4CE5-AC63-1CBECFB7EC1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83618" y="1847675"/>
            <a:ext cx="4124127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Inhaltsplatzhalter 8">
            <a:extLst>
              <a:ext uri="{FF2B5EF4-FFF2-40B4-BE49-F238E27FC236}">
                <a16:creationId xmlns:a16="http://schemas.microsoft.com/office/drawing/2014/main" id="{8962A071-D29B-4635-A5D7-12C0AF25252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099895" y="1847675"/>
            <a:ext cx="4123777" cy="4461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7C00934-D66B-42C9-8B32-5AD44227E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22270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9EF98CE8-16CA-4C5D-91E9-033274FACC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925202479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" name="think-cell Folie" r:id="rId36" imgW="418" imgH="422" progId="TCLayout.ActiveDocument.1">
                  <p:embed/>
                </p:oleObj>
              </mc:Choice>
              <mc:Fallback>
                <p:oleObj name="think-cell Folie" r:id="rId36" imgW="418" imgH="422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9EF98CE8-16CA-4C5D-91E9-033274FACC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81EE6BE-BC9D-4F81-95D2-ADD4AD5027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3617" y="1847675"/>
            <a:ext cx="8540056" cy="4461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9B8935-E259-4B02-883B-6D1A3EE7D6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3617" y="6529182"/>
            <a:ext cx="59436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5850" indent="-5850" algn="l">
              <a:lnSpc>
                <a:spcPct val="100000"/>
              </a:lnSpc>
              <a:spcBef>
                <a:spcPts val="0"/>
              </a:spcBef>
              <a:defRPr sz="813">
                <a:solidFill>
                  <a:srgbClr val="6F6F6F"/>
                </a:solidFill>
              </a:defRPr>
            </a:lvl1pPr>
          </a:lstStyle>
          <a:p>
            <a:r>
              <a:rPr lang="en-US"/>
              <a:t>© msg systems ag | November 2021 | Konsolidierung Budget 2022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8D76224-E1D4-43A7-9ACF-CEDFC80D25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2383" y="6529182"/>
            <a:ext cx="411392" cy="19613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marL="5850" indent="-5850" algn="r">
              <a:lnSpc>
                <a:spcPct val="100000"/>
              </a:lnSpc>
              <a:spcBef>
                <a:spcPts val="0"/>
              </a:spcBef>
              <a:defRPr sz="813">
                <a:solidFill>
                  <a:srgbClr val="6F6F6F"/>
                </a:solidFill>
              </a:defRPr>
            </a:lvl1pPr>
          </a:lstStyle>
          <a:p>
            <a:fld id="{B27B0579-4238-4E44-9A9E-134B676F827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E03ECAFD-9781-4257-B351-7F0273D72724}"/>
              </a:ext>
            </a:extLst>
          </p:cNvPr>
          <p:cNvSpPr txBox="1">
            <a:spLocks/>
          </p:cNvSpPr>
          <p:nvPr/>
        </p:nvSpPr>
        <p:spPr>
          <a:xfrm>
            <a:off x="0" y="1055676"/>
            <a:ext cx="9906000" cy="21748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0"/>
                  <a:lumOff val="100000"/>
                </a:schemeClr>
              </a:gs>
              <a:gs pos="100000">
                <a:schemeClr val="accent3">
                  <a:lumMod val="0"/>
                  <a:lumOff val="100000"/>
                </a:schemeClr>
              </a:gs>
              <a:gs pos="98000">
                <a:schemeClr val="accent3">
                  <a:lumMod val="40000"/>
                  <a:lumOff val="60000"/>
                </a:schemeClr>
              </a:gs>
            </a:gsLst>
            <a:lin ang="5400000" scaled="1"/>
            <a:tileRect/>
          </a:gradFill>
          <a:effectLst/>
        </p:spPr>
        <p:txBody>
          <a:bodyPr vert="horz" wrap="none" lIns="74295" tIns="37148" rIns="74295" bIns="37148" rtlCol="0" anchor="ctr">
            <a:noAutofit/>
          </a:bodyPr>
          <a:lstStyle>
            <a:lvl1pPr marL="720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2800" b="0" i="0" kern="1200">
                <a:solidFill>
                  <a:srgbClr val="A01441"/>
                </a:solidFill>
                <a:latin typeface="Source Sans Pro Light" panose="020B0403030403020204" pitchFamily="34" charset="0"/>
                <a:ea typeface="+mj-ea"/>
                <a:cs typeface="+mj-cs"/>
              </a:defRPr>
            </a:lvl1pPr>
          </a:lstStyle>
          <a:p>
            <a:endParaRPr lang="de-DE" sz="244" b="1" i="0" dirty="0">
              <a:noFill/>
              <a:latin typeface="Calibri" panose="020F0502020204030204" pitchFamily="34" charset="0"/>
            </a:endParaRPr>
          </a:p>
        </p:txBody>
      </p:sp>
      <p:grpSp>
        <p:nvGrpSpPr>
          <p:cNvPr id="8" name="Group 698">
            <a:extLst>
              <a:ext uri="{FF2B5EF4-FFF2-40B4-BE49-F238E27FC236}">
                <a16:creationId xmlns:a16="http://schemas.microsoft.com/office/drawing/2014/main" id="{38B3AD8D-4BDF-4493-A03C-66B87BD86E4A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8912259" y="524210"/>
            <a:ext cx="721585" cy="278730"/>
            <a:chOff x="561" y="2269"/>
            <a:chExt cx="4636" cy="1455"/>
          </a:xfrm>
        </p:grpSpPr>
        <p:sp>
          <p:nvSpPr>
            <p:cNvPr id="9" name="AutoShape 697">
              <a:extLst>
                <a:ext uri="{FF2B5EF4-FFF2-40B4-BE49-F238E27FC236}">
                  <a16:creationId xmlns:a16="http://schemas.microsoft.com/office/drawing/2014/main" id="{1E22E9AA-182F-4CB2-89E0-419C3221803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10" name="Oval 699">
              <a:extLst>
                <a:ext uri="{FF2B5EF4-FFF2-40B4-BE49-F238E27FC236}">
                  <a16:creationId xmlns:a16="http://schemas.microsoft.com/office/drawing/2014/main" id="{FE4F0486-765A-46F8-BF6A-2AD294BE1C4F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561" y="2905"/>
              <a:ext cx="483" cy="484"/>
            </a:xfrm>
            <a:prstGeom prst="ellipse">
              <a:avLst/>
            </a:prstGeom>
            <a:solidFill>
              <a:srgbClr val="A014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11" name="Freeform 700">
              <a:extLst>
                <a:ext uri="{FF2B5EF4-FFF2-40B4-BE49-F238E27FC236}">
                  <a16:creationId xmlns:a16="http://schemas.microsoft.com/office/drawing/2014/main" id="{FBAC19C4-25A2-4BF7-ACD3-70DAC73E62A4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12" name="Freeform 701">
              <a:extLst>
                <a:ext uri="{FF2B5EF4-FFF2-40B4-BE49-F238E27FC236}">
                  <a16:creationId xmlns:a16="http://schemas.microsoft.com/office/drawing/2014/main" id="{D2D1C06B-0E36-489F-B21B-BD41AE37A37A}"/>
                </a:ext>
              </a:extLst>
            </p:cNvPr>
            <p:cNvSpPr>
              <a:spLocks/>
            </p:cNvSpPr>
            <p:nvPr/>
          </p:nvSpPr>
          <p:spPr bwMode="black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  <p:sp>
          <p:nvSpPr>
            <p:cNvPr id="13" name="Freeform 702">
              <a:extLst>
                <a:ext uri="{FF2B5EF4-FFF2-40B4-BE49-F238E27FC236}">
                  <a16:creationId xmlns:a16="http://schemas.microsoft.com/office/drawing/2014/main" id="{3BA43128-2855-4003-9162-8C4E59041BFE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463" b="1" i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5ADC21A-C003-4B75-994E-118F65D69F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17" y="489457"/>
            <a:ext cx="7897571" cy="7805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1029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  <p:sldLayoutId id="2147483735" r:id="rId31"/>
    <p:sldLayoutId id="2147483736" r:id="rId32"/>
  </p:sldLayoutIdLst>
  <p:hf hd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19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Tx/>
        <a:buNone/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11700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438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138" kern="1200">
          <a:solidFill>
            <a:schemeClr val="tx1"/>
          </a:solidFill>
          <a:latin typeface="+mn-lt"/>
          <a:ea typeface="+mn-ea"/>
          <a:cs typeface="+mn-cs"/>
        </a:defRPr>
      </a:lvl3pPr>
      <a:lvl4pPr marL="7312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4pPr>
      <a:lvl5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5pPr>
      <a:lvl6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6pPr>
      <a:lvl7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7pPr>
      <a:lvl8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8pPr>
      <a:lvl9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Tx/>
        <a:buNone/>
        <a:defRPr sz="894" kern="1200">
          <a:solidFill>
            <a:schemeClr val="tx1"/>
          </a:solidFill>
          <a:latin typeface="+mn-lt"/>
          <a:ea typeface="+mn-ea"/>
          <a:cs typeface="+mn-cs"/>
        </a:defRPr>
      </a:lvl1pPr>
      <a:lvl2pPr marL="11700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438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138" kern="1200">
          <a:solidFill>
            <a:schemeClr val="tx1"/>
          </a:solidFill>
          <a:latin typeface="+mn-lt"/>
          <a:ea typeface="+mn-ea"/>
          <a:cs typeface="+mn-cs"/>
        </a:defRPr>
      </a:lvl3pPr>
      <a:lvl4pPr marL="7312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4pPr>
      <a:lvl5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5pPr>
      <a:lvl6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6pPr>
      <a:lvl7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7pPr>
      <a:lvl8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8pPr>
      <a:lvl9pPr marL="1023750" indent="-117000" algn="l" defTabSz="74295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8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30">
          <p15:clr>
            <a:srgbClr val="F26B43"/>
          </p15:clr>
        </p15:guide>
        <p15:guide id="2" pos="3840">
          <p15:clr>
            <a:srgbClr val="F26B43"/>
          </p15:clr>
        </p15:guide>
        <p15:guide id="3" pos="4067">
          <p15:clr>
            <a:srgbClr val="F26B43"/>
          </p15:clr>
        </p15:guide>
        <p15:guide id="4" pos="7151">
          <p15:clr>
            <a:srgbClr val="F26B43"/>
          </p15:clr>
        </p15:guide>
        <p15:guide id="5" pos="7469">
          <p15:clr>
            <a:srgbClr val="F26B43"/>
          </p15:clr>
        </p15:guide>
        <p15:guide id="6" orient="horz" pos="464">
          <p15:clr>
            <a:srgbClr val="F26B43"/>
          </p15:clr>
        </p15:guide>
        <p15:guide id="7" orient="horz" pos="800">
          <p15:clr>
            <a:srgbClr val="F26B43"/>
          </p15:clr>
        </p15:guide>
        <p15:guide id="8" orient="horz" pos="1163">
          <p15:clr>
            <a:srgbClr val="F26B43"/>
          </p15:clr>
        </p15:guide>
        <p15:guide id="9" orient="horz" pos="1481">
          <p15:clr>
            <a:srgbClr val="F26B43"/>
          </p15:clr>
        </p15:guide>
        <p15:guide id="10" orient="horz" pos="1797">
          <p15:clr>
            <a:srgbClr val="F26B43"/>
          </p15:clr>
        </p15:guide>
        <p15:guide id="11" orient="horz" pos="2024">
          <p15:clr>
            <a:srgbClr val="F26B43"/>
          </p15:clr>
        </p15:guide>
        <p15:guide id="12" orient="horz" pos="3884">
          <p15:clr>
            <a:srgbClr val="F26B43"/>
          </p15:clr>
        </p15:guide>
        <p15:guide id="13" orient="horz" pos="3974">
          <p15:clr>
            <a:srgbClr val="F26B43"/>
          </p15:clr>
        </p15:guide>
        <p15:guide id="14" orient="horz" pos="420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1B55E29-B956-444B-A8C6-6E5E8BC6DF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" name="think-cell Folie" r:id="rId6" imgW="418" imgH="422" progId="TCLayout.ActiveDocument.1">
                  <p:embed/>
                </p:oleObj>
              </mc:Choice>
              <mc:Fallback>
                <p:oleObj name="think-cell Folie" r:id="rId6" imgW="418" imgH="422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11B55E29-B956-444B-A8C6-6E5E8BC6DF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AB7D1BF2-775B-4AC8-B166-EEEB5F8435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642938"/>
            <a:ext cx="128984" cy="12898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42950">
              <a:lnSpc>
                <a:spcPct val="110000"/>
              </a:lnSpc>
              <a:buClr>
                <a:srgbClr val="A01441"/>
              </a:buClr>
            </a:pPr>
            <a:endParaRPr lang="de-DE" sz="3575" dirty="0">
              <a:solidFill>
                <a:prstClr val="black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29E3023-CE8B-4519-ACE7-D9919F9304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AF55C59E-9802-43F6-8D41-333C0275281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78961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6C2678C-0EC5-4D74-8D5E-F93CDDFA19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B5F23D4-66D8-41FB-BDC7-5D562499D1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F9E9C01-190F-4424-823B-5A1D7E3AC78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AC8D66D9-3F14-4742-AD2D-6BBDD29BB36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B8EDC37-EE40-47CD-9D6C-C773DB93DA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54809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6523D4D-E415-4A54-B58B-2070AC8944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33C7B7B-95B8-462A-BD57-7206F2B2A5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7B0579-4238-4E44-9A9E-134B676F827C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124B24-7183-4497-B6E0-B7B27754DCF0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A2285BE-F6E4-42C6-BE32-1CF6468A4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24229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yi8WLd6px25SWrfsvCdQ"/>
</p:tagLst>
</file>

<file path=ppt/theme/theme1.xml><?xml version="1.0" encoding="utf-8"?>
<a:theme xmlns:a="http://schemas.openxmlformats.org/drawingml/2006/main" name="1_msg Master">
  <a:themeElements>
    <a:clrScheme name="msg systems">
      <a:dk1>
        <a:sysClr val="windowText" lastClr="000000"/>
      </a:dk1>
      <a:lt1>
        <a:sysClr val="window" lastClr="FFFFFF"/>
      </a:lt1>
      <a:dk2>
        <a:srgbClr val="6F6F6F"/>
      </a:dk2>
      <a:lt2>
        <a:srgbClr val="E9E9E9"/>
      </a:lt2>
      <a:accent1>
        <a:srgbClr val="A01441"/>
      </a:accent1>
      <a:accent2>
        <a:srgbClr val="4A4A4A"/>
      </a:accent2>
      <a:accent3>
        <a:srgbClr val="ACACAC"/>
      </a:accent3>
      <a:accent4>
        <a:srgbClr val="E9E9E9"/>
      </a:accent4>
      <a:accent5>
        <a:srgbClr val="56A3BC"/>
      </a:accent5>
      <a:accent6>
        <a:srgbClr val="6DA000"/>
      </a:accent6>
      <a:hlink>
        <a:srgbClr val="A01441"/>
      </a:hlink>
      <a:folHlink>
        <a:srgbClr val="A01441"/>
      </a:folHlink>
    </a:clrScheme>
    <a:fontScheme name="msg system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4A4A4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  <a:custClrLst>
    <a:custClr name="Gelb">
      <a:srgbClr val="F3B545"/>
    </a:custClr>
    <a:custClr name="Orange">
      <a:srgbClr val="F15931"/>
    </a:custClr>
    <a:custClr name="Grün">
      <a:srgbClr val="6DA000"/>
    </a:custClr>
    <a:custClr name="Dunkelblau">
      <a:srgbClr val="001F60"/>
    </a:custClr>
    <a:custClr name="Petrol">
      <a:srgbClr val="56A3BC"/>
    </a:custClr>
    <a:custClr name="Dunkelgrau">
      <a:srgbClr val="4A4A4A"/>
    </a:custClr>
    <a:custClr name="Hellgrau">
      <a:srgbClr val="ACACAC"/>
    </a:custClr>
    <a:custClr name="Lichtgrau">
      <a:srgbClr val="E9E9E9"/>
    </a:custClr>
    <a:custClr name="Rot">
      <a:srgbClr val="A01441"/>
    </a:custClr>
    <a:custClr name="Grau">
      <a:srgbClr val="6F6F6F"/>
    </a:custClr>
  </a:custClrLst>
  <a:extLst>
    <a:ext uri="{05A4C25C-085E-4340-85A3-A5531E510DB2}">
      <thm15:themeFamily xmlns:thm15="http://schemas.microsoft.com/office/thememl/2012/main" name="PPT_Master-Template_msg_2020.potx" id="{1D15AE2B-7F66-4309-920A-24D08225CB65}" vid="{8F5D4508-5F8C-4995-BE5C-A8826B4B4400}"/>
    </a:ext>
  </a:extLst>
</a:theme>
</file>

<file path=ppt/theme/theme2.xml><?xml version="1.0" encoding="utf-8"?>
<a:theme xmlns:a="http://schemas.openxmlformats.org/drawingml/2006/main" name="Office Theme">
  <a:themeElements>
    <a:clrScheme name="msgGillardon_neu">
      <a:dk1>
        <a:srgbClr val="000000"/>
      </a:dk1>
      <a:lt1>
        <a:srgbClr val="FFFFFF"/>
      </a:lt1>
      <a:dk2>
        <a:srgbClr val="3F3F3F"/>
      </a:dk2>
      <a:lt2>
        <a:srgbClr val="CBCBCB"/>
      </a:lt2>
      <a:accent1>
        <a:srgbClr val="F3B545"/>
      </a:accent1>
      <a:accent2>
        <a:srgbClr val="F15931"/>
      </a:accent2>
      <a:accent3>
        <a:srgbClr val="388B74"/>
      </a:accent3>
      <a:accent4>
        <a:srgbClr val="0082BE"/>
      </a:accent4>
      <a:accent5>
        <a:srgbClr val="ABDDCF"/>
      </a:accent5>
      <a:accent6>
        <a:srgbClr val="7DD7FF"/>
      </a:accent6>
      <a:hlink>
        <a:srgbClr val="F15931"/>
      </a:hlink>
      <a:folHlink>
        <a:srgbClr val="F15931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msgGillardon_neu">
      <a:dk1>
        <a:srgbClr val="000000"/>
      </a:dk1>
      <a:lt1>
        <a:srgbClr val="FFFFFF"/>
      </a:lt1>
      <a:dk2>
        <a:srgbClr val="3F3F3F"/>
      </a:dk2>
      <a:lt2>
        <a:srgbClr val="CBCBCB"/>
      </a:lt2>
      <a:accent1>
        <a:srgbClr val="F3B545"/>
      </a:accent1>
      <a:accent2>
        <a:srgbClr val="F15931"/>
      </a:accent2>
      <a:accent3>
        <a:srgbClr val="388B74"/>
      </a:accent3>
      <a:accent4>
        <a:srgbClr val="0082BE"/>
      </a:accent4>
      <a:accent5>
        <a:srgbClr val="ABDDCF"/>
      </a:accent5>
      <a:accent6>
        <a:srgbClr val="7DD7FF"/>
      </a:accent6>
      <a:hlink>
        <a:srgbClr val="F15931"/>
      </a:hlink>
      <a:folHlink>
        <a:srgbClr val="F15931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sg_Klassifizierung xmlns="1dd69248-66f9-453d-8211-ae5ae34a4b30">internal</msg_Klassifizierung>
    <msg_Status xmlns="1dd69248-66f9-453d-8211-ae5ae34a4b30">draft</msg_Status>
    <msg_Firma xmlns="1dd69248-66f9-453d-8211-ae5ae34a4b30">msg systems ag</msg_Firma>
    <msg_Version xmlns="1dd69248-66f9-453d-8211-ae5ae34a4b30">0.1</msg_Version>
    <msg_gueltig_bis xmlns="1dd69248-66f9-453d-8211-ae5ae34a4b30">2025-12-31T12:00:00+00:00</msg_gueltig_bis>
    <msg_gueltig_ab xmlns="1dd69248-66f9-453d-8211-ae5ae34a4b30">2019-10-18T12:00:00+00:00</msg_gueltig_ab>
    <msg_Kommentar xmlns="1dd69248-66f9-453d-8211-ae5ae34a4b30">Neues Dokument erstellt.</msg_Kommentar>
    <msg_Manager xmlns="1dd69248-66f9-453d-8211-ae5ae34a4b30">[Dokumentverantwortlicher]</msg_Manager>
    <msg_Dokumententyp xmlns="1dd69248-66f9-453d-8211-ae5ae34a4b30">Schriftwechsel (allgemein)</msg_Dokumententyp>
  </documentManagement>
</p:properties>
</file>

<file path=customXml/itemProps1.xml><?xml version="1.0" encoding="utf-8"?>
<ds:datastoreItem xmlns:ds="http://schemas.openxmlformats.org/officeDocument/2006/customXml" ds:itemID="{97F6D51D-AEFD-4A66-80FD-395C6DF43FA6}">
  <ds:schemaRefs>
    <ds:schemaRef ds:uri="http://schemas.microsoft.com/office/2006/metadata/properties"/>
    <ds:schemaRef ds:uri="http://schemas.microsoft.com/office/infopath/2007/PartnerControls"/>
    <ds:schemaRef ds:uri="1dd69248-66f9-453d-8211-ae5ae34a4b3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</Words>
  <Application>Microsoft Office PowerPoint</Application>
  <PresentationFormat>A4-Papier (210 x 297 mm)</PresentationFormat>
  <Paragraphs>5</Paragraphs>
  <Slides>3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Arial</vt:lpstr>
      <vt:lpstr>Calibri</vt:lpstr>
      <vt:lpstr>Wingdings</vt:lpstr>
      <vt:lpstr>1_msg Master</vt:lpstr>
      <vt:lpstr>think-cell Folie</vt:lpstr>
      <vt:lpstr>Titel</vt:lpstr>
      <vt:lpstr>PowerPoint-Präsentation</vt:lpstr>
      <vt:lpstr>PowerPoint-Präsentation</vt:lpstr>
    </vt:vector>
  </TitlesOfParts>
  <Company>msg system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lage PIV I.-III. Quartal + FC-3 2016 (Geschäfts- und Crossbereiche)</dc:title>
  <dc:creator>msg.info-controlling</dc:creator>
  <cp:lastModifiedBy>Csaba Ludescher</cp:lastModifiedBy>
  <cp:revision>451</cp:revision>
  <cp:lastPrinted>2016-12-01T09:45:30Z</cp:lastPrinted>
  <dcterms:created xsi:type="dcterms:W3CDTF">2015-04-14T06:18:44Z</dcterms:created>
  <dcterms:modified xsi:type="dcterms:W3CDTF">2022-02-23T12:1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g_AssistantVisibility">
    <vt:bool>false</vt:bool>
  </property>
  <property fmtid="{D5CDD505-2E9C-101B-9397-08002B2CF9AE}" pid="3" name="msg_DueDateChanged">
    <vt:filetime>2019-10-18T07:57:35Z</vt:filetime>
  </property>
</Properties>
</file>